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728" r:id="rId3"/>
  </p:sldMasterIdLst>
  <p:notesMasterIdLst>
    <p:notesMasterId r:id="rId42"/>
  </p:notesMasterIdLst>
  <p:sldIdLst>
    <p:sldId id="256" r:id="rId4"/>
    <p:sldId id="299" r:id="rId5"/>
    <p:sldId id="301" r:id="rId6"/>
    <p:sldId id="265" r:id="rId7"/>
    <p:sldId id="303" r:id="rId8"/>
    <p:sldId id="288" r:id="rId9"/>
    <p:sldId id="262" r:id="rId10"/>
    <p:sldId id="261" r:id="rId11"/>
    <p:sldId id="260" r:id="rId12"/>
    <p:sldId id="259" r:id="rId13"/>
    <p:sldId id="258" r:id="rId14"/>
    <p:sldId id="266" r:id="rId15"/>
    <p:sldId id="267" r:id="rId16"/>
    <p:sldId id="268" r:id="rId17"/>
    <p:sldId id="269" r:id="rId18"/>
    <p:sldId id="270" r:id="rId19"/>
    <p:sldId id="286" r:id="rId20"/>
    <p:sldId id="271" r:id="rId21"/>
    <p:sldId id="272" r:id="rId22"/>
    <p:sldId id="273" r:id="rId23"/>
    <p:sldId id="274" r:id="rId24"/>
    <p:sldId id="275" r:id="rId25"/>
    <p:sldId id="298" r:id="rId26"/>
    <p:sldId id="304" r:id="rId27"/>
    <p:sldId id="289" r:id="rId28"/>
    <p:sldId id="290" r:id="rId29"/>
    <p:sldId id="295" r:id="rId30"/>
    <p:sldId id="296" r:id="rId31"/>
    <p:sldId id="276" r:id="rId32"/>
    <p:sldId id="278" r:id="rId33"/>
    <p:sldId id="279" r:id="rId34"/>
    <p:sldId id="280" r:id="rId35"/>
    <p:sldId id="282" r:id="rId36"/>
    <p:sldId id="284" r:id="rId37"/>
    <p:sldId id="283" r:id="rId38"/>
    <p:sldId id="294" r:id="rId39"/>
    <p:sldId id="293" r:id="rId40"/>
    <p:sldId id="29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3704" autoAdjust="0"/>
  </p:normalViewPr>
  <p:slideViewPr>
    <p:cSldViewPr snapToGrid="0">
      <p:cViewPr varScale="1">
        <p:scale>
          <a:sx n="53" d="100"/>
          <a:sy n="53" d="100"/>
        </p:scale>
        <p:origin x="141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D976C6-5219-4487-A6E6-6D5E8C738465}" type="datetimeFigureOut">
              <a:rPr lang="en-US" smtClean="0"/>
              <a:t>1/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BBDA6F-721C-4D88-A4C3-0C8570D51D53}" type="slidenum">
              <a:rPr lang="en-US" smtClean="0"/>
              <a:t>‹#›</a:t>
            </a:fld>
            <a:endParaRPr lang="en-US"/>
          </a:p>
        </p:txBody>
      </p:sp>
    </p:spTree>
    <p:extLst>
      <p:ext uri="{BB962C8B-B14F-4D97-AF65-F5344CB8AC3E}">
        <p14:creationId xmlns:p14="http://schemas.microsoft.com/office/powerpoint/2010/main" val="31350636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know that this graphic</a:t>
            </a:r>
            <a:r>
              <a:rPr lang="en-US" baseline="0" dirty="0" smtClean="0"/>
              <a:t> is hard to read, but it’s a great summary of the sale and you can find it in the family Guide and troop Cookie book on our website. </a:t>
            </a:r>
            <a:r>
              <a:rPr lang="en-US" dirty="0" smtClean="0"/>
              <a:t>Here you see the many ways that girls are able to sell cookies.</a:t>
            </a:r>
            <a:r>
              <a:rPr lang="en-US" baseline="0" dirty="0" smtClean="0"/>
              <a:t> </a:t>
            </a:r>
            <a:r>
              <a:rPr lang="en-US" dirty="0" smtClean="0"/>
              <a:t>All registered Girl Scouts with a signed permission slip can participate in the Cookie Program! </a:t>
            </a:r>
            <a:r>
              <a:rPr lang="en-US" baseline="0" dirty="0" smtClean="0"/>
              <a:t>This slide is also available on our website and in the Troop Cookie Book.  We have a few handouts that you can download.  They include the Troop Cookie Book, The Family Guide, a flyer on Troop Cookie Links, Important Dates and the Troop Permission slip.  </a:t>
            </a:r>
          </a:p>
          <a:p>
            <a:r>
              <a:rPr lang="en-US" dirty="0" smtClean="0"/>
              <a:t>The Girl Scout Cookie Program is the largest girl-led entrepreneurial program in the world and girls learn five key skills they will use for a lifetime: </a:t>
            </a:r>
          </a:p>
          <a:p>
            <a:pPr marL="228600" indent="-228600">
              <a:buAutoNum type="arabicPeriod"/>
            </a:pPr>
            <a:r>
              <a:rPr lang="en-US" dirty="0" smtClean="0"/>
              <a:t>Goal setting: She sets cookie goals and makes a plan to reach them. </a:t>
            </a:r>
          </a:p>
          <a:p>
            <a:pPr marL="228600" indent="-228600">
              <a:buAutoNum type="arabicPeriod"/>
            </a:pPr>
            <a:r>
              <a:rPr lang="en-US" dirty="0" smtClean="0"/>
              <a:t>Decision-making: She decides how her troop will spend the cookie earnings. </a:t>
            </a:r>
          </a:p>
          <a:p>
            <a:pPr marL="228600" indent="-228600">
              <a:buAutoNum type="arabicPeriod"/>
            </a:pPr>
            <a:r>
              <a:rPr lang="en-US" dirty="0" smtClean="0"/>
              <a:t>Money management: She makes a budget, takes orders, and handles customer’s money. </a:t>
            </a:r>
          </a:p>
          <a:p>
            <a:pPr marL="228600" indent="-228600">
              <a:buAutoNum type="arabicPeriod"/>
            </a:pPr>
            <a:r>
              <a:rPr lang="en-US" dirty="0" smtClean="0"/>
              <a:t>People skills: She learns to talk and listen to all kinds of people while selling cookies. </a:t>
            </a:r>
          </a:p>
          <a:p>
            <a:pPr marL="228600" indent="-228600">
              <a:buAutoNum type="arabicPeriod"/>
            </a:pPr>
            <a:r>
              <a:rPr lang="en-US" dirty="0" smtClean="0"/>
              <a:t>Business ethics: She is honest and responsible every step of the way. </a:t>
            </a:r>
          </a:p>
          <a:p>
            <a:pPr marL="0" indent="0">
              <a:buNone/>
            </a:pPr>
            <a:r>
              <a:rPr lang="en-US" dirty="0" smtClean="0"/>
              <a:t>Your time and talents are valuable to girls and to the Girl Scout Cookie Program. Thank you for helping build a program where girls learn, grow, and make a lasting impact on the world.</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a:t>
            </a:fld>
            <a:endParaRPr lang="en-US"/>
          </a:p>
        </p:txBody>
      </p:sp>
    </p:spTree>
    <p:extLst>
      <p:ext uri="{BB962C8B-B14F-4D97-AF65-F5344CB8AC3E}">
        <p14:creationId xmlns:p14="http://schemas.microsoft.com/office/powerpoint/2010/main" val="13494916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al getter sales immediately follow Initial order.  This phase allows girls to keep selling, or gives girl who did not sell during I/O a chance to catch up.  There</a:t>
            </a:r>
            <a:r>
              <a:rPr lang="en-US" baseline="0" dirty="0" smtClean="0"/>
              <a:t> will</a:t>
            </a:r>
            <a:r>
              <a:rPr lang="en-US" dirty="0" smtClean="0"/>
              <a:t> always be a customer who says “I wish you told</a:t>
            </a:r>
            <a:r>
              <a:rPr lang="en-US" baseline="0" dirty="0" smtClean="0"/>
              <a:t> me you were selling cookies!”  This gives girls a chance to catch those customers and fill their order.  Goal Getter orders can be filled using extras from the troop’s initial order, from the cupboard, or by transfer from another troop.</a:t>
            </a:r>
          </a:p>
          <a:p>
            <a:endParaRPr lang="en-US" baseline="0" dirty="0" smtClean="0"/>
          </a:p>
          <a:p>
            <a:r>
              <a:rPr lang="en-US" baseline="0" dirty="0" smtClean="0"/>
              <a:t>Goal Getters give the troop the possibility of making up for lost time, or achieving goals they did not meet during I/O.</a:t>
            </a:r>
          </a:p>
          <a:p>
            <a:endParaRPr lang="en-US" baseline="0" dirty="0" smtClean="0"/>
          </a:p>
          <a:p>
            <a:r>
              <a:rPr lang="en-US" baseline="0" dirty="0" smtClean="0"/>
              <a:t>We recommend that when girls turn in their color order cards to the troop cookie chair, they also hand the girl a Goal Getter order card.</a:t>
            </a:r>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0</a:t>
            </a:fld>
            <a:endParaRPr lang="en-US"/>
          </a:p>
        </p:txBody>
      </p:sp>
    </p:spTree>
    <p:extLst>
      <p:ext uri="{BB962C8B-B14F-4D97-AF65-F5344CB8AC3E}">
        <p14:creationId xmlns:p14="http://schemas.microsoft.com/office/powerpoint/2010/main" val="3628499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smtClean="0"/>
              <a:t>March booth sales are</a:t>
            </a:r>
            <a:r>
              <a:rPr lang="en-US" altLang="en-US" baseline="0" dirty="0" smtClean="0"/>
              <a:t> from March 10 through the 26</a:t>
            </a:r>
            <a:r>
              <a:rPr lang="en-US" altLang="en-US" baseline="30000" dirty="0" smtClean="0"/>
              <a:t>th</a:t>
            </a:r>
            <a:r>
              <a:rPr lang="en-US" altLang="en-US" baseline="0" dirty="0" smtClean="0"/>
              <a:t>.  We honor Girl Scout ‘s birthday month with early booth sales so Girl Scouts can get out and tell their GS story. As in previous years, we will be using the Pre-Season tab in eBudde to order the cookies and reserve council booth locations. Please stay tuned for the list of council booth spots that we will have for March.  We will announce via eBudde and HH when eBudde will open up for booth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aseline="0" dirty="0" smtClean="0"/>
              <a:t>Palisades, Westchester Mall, JV Mall, Poughkeepsie Galleria, Poughkeepsie Plaza, Crystal Run, Newburgh(tentative), New City Shop, </a:t>
            </a:r>
            <a:r>
              <a:rPr lang="en-US" altLang="en-US" baseline="0" dirty="0" err="1" smtClean="0"/>
              <a:t>Wappingers</a:t>
            </a:r>
            <a:r>
              <a:rPr lang="en-US" altLang="en-US" baseline="0" dirty="0" smtClean="0"/>
              <a:t> Shop. </a:t>
            </a:r>
            <a:endParaRPr lang="en-US" alt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2</a:t>
            </a:fld>
            <a:endParaRPr lang="en-US"/>
          </a:p>
        </p:txBody>
      </p:sp>
    </p:spTree>
    <p:extLst>
      <p:ext uri="{BB962C8B-B14F-4D97-AF65-F5344CB8AC3E}">
        <p14:creationId xmlns:p14="http://schemas.microsoft.com/office/powerpoint/2010/main" val="1100483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ltLang="en-US" dirty="0" smtClean="0"/>
              <a:t>There are many times you will need more cookies – people asking if you have them, GOAL Getter orders, booth sales, and maybe even for orders girls did not get to you in time to order for your troop delivery.  Council has a cupboard in every office and there are outlying cupboards in some communities.  All</a:t>
            </a:r>
            <a:r>
              <a:rPr lang="en-US" altLang="en-US" baseline="0" dirty="0" smtClean="0"/>
              <a:t> cupboards will be listed in eBudde and on the GSHH website.  </a:t>
            </a:r>
            <a:endParaRPr lang="en-US" altLang="en-US" dirty="0" smtClean="0"/>
          </a:p>
          <a:p>
            <a:pPr marL="171450" indent="-171450">
              <a:buFontTx/>
              <a:buChar char="•"/>
            </a:pPr>
            <a:endParaRPr lang="en-US" altLang="en-US" dirty="0" smtClean="0"/>
          </a:p>
          <a:p>
            <a:pPr marL="171450" indent="-171450">
              <a:buFontTx/>
              <a:buChar char="•"/>
            </a:pPr>
            <a:r>
              <a:rPr lang="en-US" altLang="en-US" dirty="0" smtClean="0"/>
              <a:t>Troops can get more cookies at cupboards and the orders do not have to be placed in cases—one could pick up a single package if that’s what is needed.</a:t>
            </a:r>
          </a:p>
          <a:p>
            <a:pPr marL="171450" indent="-171450">
              <a:buFontTx/>
              <a:buChar char="•"/>
            </a:pPr>
            <a:endParaRPr lang="en-US" altLang="en-US" dirty="0" smtClean="0"/>
          </a:p>
          <a:p>
            <a:pPr marL="171450" indent="-171450">
              <a:buFontTx/>
              <a:buChar char="•"/>
            </a:pPr>
            <a:r>
              <a:rPr lang="en-US" altLang="en-US" dirty="0" smtClean="0"/>
              <a:t>If you need to place an order for more cookies, you can order them in eBudde and pick them up a the cupboard most convenient for you.  eBudde will have a list of cupboards and details about hours, locations, etc. There are even maps to show where the cupboards are. For March booth sales we will have the office cupboards, Kingston, Carmel, </a:t>
            </a:r>
            <a:r>
              <a:rPr lang="en-US" altLang="en-US" dirty="0" err="1" smtClean="0"/>
              <a:t>Cortlandt</a:t>
            </a:r>
            <a:r>
              <a:rPr lang="en-US" altLang="en-US" baseline="0" dirty="0" smtClean="0"/>
              <a:t> Manor, Hyde Park </a:t>
            </a:r>
            <a:r>
              <a:rPr lang="en-US" altLang="en-US" dirty="0" smtClean="0"/>
              <a:t>and cupboards open</a:t>
            </a:r>
            <a:r>
              <a:rPr lang="en-US" altLang="en-US" baseline="0" dirty="0" smtClean="0"/>
              <a:t> and as many of you know we are working on securing additional cupboard locations to fit the needs of more communities. </a:t>
            </a:r>
            <a:endParaRPr lang="en-US" altLang="en-US" dirty="0" smtClean="0"/>
          </a:p>
          <a:p>
            <a:pPr marL="171450" indent="-171450">
              <a:buFontTx/>
              <a:buChar char="•"/>
            </a:pPr>
            <a:endParaRPr lang="en-US" altLang="en-US" dirty="0" smtClean="0"/>
          </a:p>
          <a:p>
            <a:pPr marL="171450" indent="-171450">
              <a:buFontTx/>
              <a:buChar char="•"/>
            </a:pPr>
            <a:r>
              <a:rPr lang="en-US" altLang="en-US" dirty="0" smtClean="0"/>
              <a:t>eBudde’s cookie exchange tab can also help identify troops that may have extras that they would like to transfer to another troop, perhaps saving you a trip!</a:t>
            </a:r>
          </a:p>
          <a:p>
            <a:pPr marL="171450" indent="-171450">
              <a:buFontTx/>
              <a:buChar char="•"/>
            </a:pPr>
            <a:endParaRPr lang="en-US" alt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3</a:t>
            </a:fld>
            <a:endParaRPr lang="en-US"/>
          </a:p>
        </p:txBody>
      </p:sp>
    </p:spTree>
    <p:extLst>
      <p:ext uri="{BB962C8B-B14F-4D97-AF65-F5344CB8AC3E}">
        <p14:creationId xmlns:p14="http://schemas.microsoft.com/office/powerpoint/2010/main" val="3239003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gital Cookie is a girl’s online cookie store.  She can use this to tell customers</a:t>
            </a:r>
            <a:r>
              <a:rPr lang="en-US" baseline="0" dirty="0" smtClean="0"/>
              <a:t> about her Girl Scout experience and share her link with friends and family. Families love it because they can spread the news far and wide that it's cookie season and customer love it because they can make their decisions any time they open the lin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6</a:t>
            </a:fld>
            <a:endParaRPr lang="en-US"/>
          </a:p>
        </p:txBody>
      </p:sp>
    </p:spTree>
    <p:extLst>
      <p:ext uri="{BB962C8B-B14F-4D97-AF65-F5344CB8AC3E}">
        <p14:creationId xmlns:p14="http://schemas.microsoft.com/office/powerpoint/2010/main" val="38357352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a:prstGeom prst="rect">
            <a:avLst/>
          </a:prstGeom>
          <a:noFill/>
          <a:ln w="12700">
            <a:solidFill>
              <a:prstClr val="black"/>
            </a:solidFill>
          </a:ln>
        </p:spPr>
      </p:sp>
      <p:sp>
        <p:nvSpPr>
          <p:cNvPr id="3" name="Notes Placeholder 2"/>
          <p:cNvSpPr>
            <a:spLocks noGrp="1"/>
          </p:cNvSpPr>
          <p:nvPr>
            <p:ph type="body" idx="1"/>
          </p:nvPr>
        </p:nvSpPr>
        <p:spPr>
          <a:xfrm>
            <a:off x="708025" y="4505325"/>
            <a:ext cx="5661025" cy="368776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Calibri"/>
            </a:endParaRPr>
          </a:p>
          <a:p>
            <a:r>
              <a:rPr lang="en-US" baseline="0" dirty="0" smtClean="0"/>
              <a:t>This year the Digital site will have  phases.  The first to open is for girl delivery and donation.  Later in the month-- Feb 27—the shipping option opens.  We suggest that girls who have customers who usually order cookies to be shipped, approach those customers on or after February 27</a:t>
            </a:r>
            <a:r>
              <a:rPr lang="en-US" baseline="30000" dirty="0" smtClean="0"/>
              <a:t>th</a:t>
            </a:r>
            <a:r>
              <a:rPr lang="en-US" baseline="0" dirty="0" smtClean="0"/>
              <a:t> when the shipping option becomes visible.</a:t>
            </a:r>
            <a:endParaRPr lang="en-US" baseline="0" dirty="0"/>
          </a:p>
          <a:p>
            <a:endParaRPr lang="en-US" baseline="0" dirty="0"/>
          </a:p>
          <a:p>
            <a:endParaRPr lang="en-US" dirty="0"/>
          </a:p>
        </p:txBody>
      </p:sp>
    </p:spTree>
    <p:extLst>
      <p:ext uri="{BB962C8B-B14F-4D97-AF65-F5344CB8AC3E}">
        <p14:creationId xmlns:p14="http://schemas.microsoft.com/office/powerpoint/2010/main" val="25750674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Char char="•"/>
              <a:tabLst/>
              <a:defRPr/>
            </a:pPr>
            <a:r>
              <a:rPr lang="en-US" dirty="0" smtClean="0"/>
              <a:t>Digital Cookie is the online cookie sale channel for the Girl Scout Cookie Program. Girls and troops can set up personalized cookie sites that can be shared with friends and family. </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dirty="0" smtClean="0"/>
              <a:t>Digital Cookie continues to grow in usage and can be part of almost all selling methods. </a:t>
            </a:r>
          </a:p>
          <a:p>
            <a:pPr marL="457200" marR="0" lvl="1" indent="0" algn="l" defTabSz="914400" rtl="0" eaLnBrk="1" fontAlgn="auto" latinLnBrk="0" hangingPunct="1">
              <a:lnSpc>
                <a:spcPct val="100000"/>
              </a:lnSpc>
              <a:spcBef>
                <a:spcPts val="0"/>
              </a:spcBef>
              <a:spcAft>
                <a:spcPts val="0"/>
              </a:spcAft>
              <a:buClrTx/>
              <a:buSzTx/>
              <a:buFontTx/>
              <a:buChar char="•"/>
              <a:tabLst/>
              <a:defRPr/>
            </a:pPr>
            <a:r>
              <a:rPr lang="en-US" dirty="0" smtClean="0"/>
              <a:t>Cookies can be ordered and paid for online by the customer. </a:t>
            </a:r>
          </a:p>
          <a:p>
            <a:pPr marL="457200" marR="0" lvl="1" indent="0" algn="l" defTabSz="914400" rtl="0" eaLnBrk="1" fontAlgn="auto" latinLnBrk="0" hangingPunct="1">
              <a:lnSpc>
                <a:spcPct val="100000"/>
              </a:lnSpc>
              <a:spcBef>
                <a:spcPts val="0"/>
              </a:spcBef>
              <a:spcAft>
                <a:spcPts val="0"/>
              </a:spcAft>
              <a:buClrTx/>
              <a:buSzTx/>
              <a:buFontTx/>
              <a:buChar char="•"/>
              <a:tabLst/>
              <a:defRPr/>
            </a:pPr>
            <a:r>
              <a:rPr lang="en-US" dirty="0" smtClean="0"/>
              <a:t>Multiple delivery methods are available including girl delivery or direct ship. </a:t>
            </a:r>
          </a:p>
          <a:p>
            <a:pPr marL="457200" marR="0" lvl="1" indent="0" algn="l" defTabSz="914400" rtl="0" eaLnBrk="1" fontAlgn="auto" latinLnBrk="0" hangingPunct="1">
              <a:lnSpc>
                <a:spcPct val="100000"/>
              </a:lnSpc>
              <a:spcBef>
                <a:spcPts val="0"/>
              </a:spcBef>
              <a:spcAft>
                <a:spcPts val="0"/>
              </a:spcAft>
              <a:buClrTx/>
              <a:buSzTx/>
              <a:buFontTx/>
              <a:buChar char="•"/>
              <a:tabLst/>
              <a:defRPr/>
            </a:pPr>
            <a:r>
              <a:rPr lang="en-US" dirty="0" smtClean="0"/>
              <a:t>The option to ship directly to a customer’s home allows girls the opportunity to sell to family and friends across the country! </a:t>
            </a:r>
          </a:p>
          <a:p>
            <a:pPr marL="457200" marR="0" lvl="1" indent="0" algn="l" defTabSz="914400" rtl="0" eaLnBrk="1" fontAlgn="auto" latinLnBrk="0" hangingPunct="1">
              <a:lnSpc>
                <a:spcPct val="100000"/>
              </a:lnSpc>
              <a:spcBef>
                <a:spcPts val="0"/>
              </a:spcBef>
              <a:spcAft>
                <a:spcPts val="0"/>
              </a:spcAft>
              <a:buClrTx/>
              <a:buSzTx/>
              <a:buFontTx/>
              <a:buChar char="•"/>
              <a:tabLst/>
              <a:defRPr/>
            </a:pPr>
            <a:r>
              <a:rPr lang="en-US" dirty="0" smtClean="0"/>
              <a:t>Shipping fees are paid by the customer and the customer is informed up front to cost of shipping before placing the order. </a:t>
            </a:r>
          </a:p>
          <a:p>
            <a:pPr marL="457200" marR="0" lvl="1" indent="0" algn="l" defTabSz="914400" rtl="0" eaLnBrk="1" fontAlgn="auto" latinLnBrk="0" hangingPunct="1">
              <a:lnSpc>
                <a:spcPct val="100000"/>
              </a:lnSpc>
              <a:spcBef>
                <a:spcPts val="0"/>
              </a:spcBef>
              <a:spcAft>
                <a:spcPts val="0"/>
              </a:spcAft>
              <a:buClrTx/>
              <a:buSzTx/>
              <a:buFontTx/>
              <a:buChar char="•"/>
              <a:tabLst/>
              <a:defRPr/>
            </a:pPr>
            <a:r>
              <a:rPr lang="en-US" altLang="en-US" dirty="0" smtClean="0">
                <a:latin typeface="Arial Black" panose="020B0A04020102020204" pitchFamily="34" charset="0"/>
              </a:rPr>
              <a:t>Donated and shipped orders are touch-free transactions, customers can support the girl .  This year Shipped cookies will be available beginning February 27</a:t>
            </a:r>
            <a:r>
              <a:rPr lang="en-US" altLang="en-US" baseline="30000" dirty="0" smtClean="0">
                <a:latin typeface="Arial Black" panose="020B0A04020102020204" pitchFamily="34" charset="0"/>
              </a:rPr>
              <a:t>th</a:t>
            </a:r>
            <a:r>
              <a:rPr lang="en-US" altLang="en-US" dirty="0" smtClean="0">
                <a:latin typeface="Arial Black" panose="020B0A04020102020204" pitchFamily="34" charset="0"/>
              </a:rPr>
              <a:t>.</a:t>
            </a:r>
          </a:p>
          <a:p>
            <a:pPr>
              <a:buFontTx/>
              <a:buChar char="•"/>
            </a:pPr>
            <a:r>
              <a:rPr lang="en-US" altLang="en-US" dirty="0" smtClean="0">
                <a:latin typeface="Arial Black" panose="020B0A04020102020204" pitchFamily="34" charset="0"/>
              </a:rPr>
              <a:t>Prepaid orders--Girls Reach customers with a link, not at the door or workplace.  Girls can arrange for safe place deliveries, customer appointments for pickups that girls load cookies into car trunk,</a:t>
            </a:r>
          </a:p>
          <a:p>
            <a:pPr>
              <a:buFontTx/>
              <a:buChar char="•"/>
            </a:pPr>
            <a:r>
              <a:rPr lang="en-US" altLang="en-US" dirty="0" smtClean="0">
                <a:latin typeface="Arial Black" panose="020B0A04020102020204" pitchFamily="34" charset="0"/>
              </a:rPr>
              <a:t>More on troop links is next!</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8</a:t>
            </a:fld>
            <a:endParaRPr lang="en-US"/>
          </a:p>
        </p:txBody>
      </p:sp>
    </p:spTree>
    <p:extLst>
      <p:ext uri="{BB962C8B-B14F-4D97-AF65-F5344CB8AC3E}">
        <p14:creationId xmlns:p14="http://schemas.microsoft.com/office/powerpoint/2010/main" val="737749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nk One: The Troop Cookie Link </a:t>
            </a:r>
          </a:p>
          <a:p>
            <a:r>
              <a:rPr lang="en-US" dirty="0" smtClean="0"/>
              <a:t>• This link does it all! Customers can order cookies for local delivery by girls in your troop or have cookies shipped. For local sales within your troop’s delivery area, customers place their order and the troop delivers the cookies to the customer’s address with support from an adult. </a:t>
            </a:r>
          </a:p>
          <a:p>
            <a:r>
              <a:rPr lang="en-US" dirty="0" smtClean="0"/>
              <a:t>• The troop can also use this link to take pre-orders that allow customers to pre-pay and pick up at a troop designated location. This designated location could be an existing cookie booth, a drive through location or another public location designated by the troop. Your troop can work together to reach troop goals in new ways using your Digital Cookie Troop Links. </a:t>
            </a:r>
          </a:p>
          <a:p>
            <a:r>
              <a:rPr lang="en-US" dirty="0" smtClean="0"/>
              <a:t>Link Two: The Troop Shipped Only Link </a:t>
            </a:r>
          </a:p>
          <a:p>
            <a:r>
              <a:rPr lang="en-US" dirty="0" smtClean="0"/>
              <a:t>• Use this link when selling outside of your troop’s delivery area in the community. </a:t>
            </a:r>
          </a:p>
          <a:p>
            <a:r>
              <a:rPr lang="en-US" dirty="0" smtClean="0"/>
              <a:t>• Customers can purchase cookies that are shipped directly to a recipient or donated to your council’s cookie donation program and credited to your troop. </a:t>
            </a:r>
          </a:p>
          <a:p>
            <a:r>
              <a:rPr lang="en-US" dirty="0" smtClean="0"/>
              <a:t>• Once your troop sets up this link, it will be connected to the Girl Scouts of the USA Cookie Finder and customers from anywhere could end up using your direct ship link to buy cookies that support your troop. The great news-there is nothing additional to do... cookies are shipped directly to the customer and the troop shares the sales with all the girls in the troop at the end of the season.</a:t>
            </a:r>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19</a:t>
            </a:fld>
            <a:endParaRPr lang="en-US"/>
          </a:p>
        </p:txBody>
      </p:sp>
    </p:spTree>
    <p:extLst>
      <p:ext uri="{BB962C8B-B14F-4D97-AF65-F5344CB8AC3E}">
        <p14:creationId xmlns:p14="http://schemas.microsoft.com/office/powerpoint/2010/main" val="25785308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Opt Out of Rewards Option for older girl troops</a:t>
            </a:r>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Older girl troops (</a:t>
            </a:r>
            <a:r>
              <a:rPr lang="en-US" sz="1200" kern="1200" dirty="0" err="1" smtClean="0">
                <a:solidFill>
                  <a:schemeClr val="tx1"/>
                </a:solidFill>
                <a:effectLst/>
                <a:latin typeface="+mn-lt"/>
                <a:ea typeface="+mn-ea"/>
                <a:cs typeface="+mn-cs"/>
              </a:rPr>
              <a:t>Cadette</a:t>
            </a:r>
            <a:r>
              <a:rPr lang="en-US" sz="1200" kern="1200" dirty="0" smtClean="0">
                <a:solidFill>
                  <a:schemeClr val="tx1"/>
                </a:solidFill>
                <a:effectLst/>
                <a:latin typeface="+mn-lt"/>
                <a:ea typeface="+mn-ea"/>
                <a:cs typeface="+mn-cs"/>
              </a:rPr>
              <a:t>, Seniors and Ambassadors)  that attain a 150 PGA can choose to opt out of rewards and earn an additional 10¢ per box.  The whole troop must agree to not receiving rewards and the troop must submit all the girls signatures on the Opt Out of reward form.  Opt out form due</a:t>
            </a:r>
            <a:r>
              <a:rPr lang="en-US" sz="1200" kern="1200" baseline="0" dirty="0" smtClean="0">
                <a:solidFill>
                  <a:schemeClr val="tx1"/>
                </a:solidFill>
                <a:effectLst/>
                <a:latin typeface="+mn-lt"/>
                <a:ea typeface="+mn-ea"/>
                <a:cs typeface="+mn-cs"/>
              </a:rPr>
              <a:t> by 2/24/2023 </a:t>
            </a:r>
            <a:r>
              <a:rPr lang="en-US" sz="1200" kern="1200" dirty="0" smtClean="0">
                <a:solidFill>
                  <a:schemeClr val="tx1"/>
                </a:solidFill>
                <a:effectLst/>
                <a:latin typeface="+mn-lt"/>
                <a:ea typeface="+mn-ea"/>
                <a:cs typeface="+mn-cs"/>
              </a:rPr>
              <a:t>If girls opt out, they will receive all the patches associated with levels detailed on the order card but none of the other items.  They WILL receive $25 Dough Si Dough at the 200 box level.</a:t>
            </a:r>
          </a:p>
          <a:p>
            <a:r>
              <a:rPr lang="en-US" sz="1200" kern="1200" dirty="0" smtClean="0">
                <a:solidFill>
                  <a:schemeClr val="tx1"/>
                </a:solidFill>
                <a:effectLst/>
                <a:latin typeface="+mn-lt"/>
                <a:ea typeface="+mn-ea"/>
                <a:cs typeface="+mn-cs"/>
              </a:rPr>
              <a:t>If the troop chooses to opt out and does not attain a 150 PGA, the troop will receive rewards as shown on the order card.</a:t>
            </a:r>
          </a:p>
          <a:p>
            <a:r>
              <a:rPr lang="en-US" sz="1200" kern="1200" dirty="0" smtClean="0">
                <a:solidFill>
                  <a:schemeClr val="tx1"/>
                </a:solidFill>
                <a:effectLst/>
                <a:latin typeface="+mn-lt"/>
                <a:ea typeface="+mn-ea"/>
                <a:cs typeface="+mn-cs"/>
              </a:rPr>
              <a:t> </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21</a:t>
            </a:fld>
            <a:endParaRPr lang="en-US"/>
          </a:p>
        </p:txBody>
      </p:sp>
    </p:spTree>
    <p:extLst>
      <p:ext uri="{BB962C8B-B14F-4D97-AF65-F5344CB8AC3E}">
        <p14:creationId xmlns:p14="http://schemas.microsoft.com/office/powerpoint/2010/main" val="2338209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altLang="en-US" dirty="0" smtClean="0"/>
              <a:t>We gave the girls choice of Dough-Si-Dough at levels from 200 packages and up.</a:t>
            </a:r>
          </a:p>
          <a:p>
            <a:pPr>
              <a:buFontTx/>
              <a:buChar char="•"/>
            </a:pPr>
            <a:r>
              <a:rPr lang="en-US" altLang="en-US" dirty="0" smtClean="0"/>
              <a:t>Please emphasize at your training and remind leaders before final rewards are due that they MUST indicate what each girl wants at each level.   </a:t>
            </a:r>
          </a:p>
          <a:p>
            <a:pPr>
              <a:buFontTx/>
              <a:buChar char="•"/>
            </a:pPr>
            <a:r>
              <a:rPr lang="en-US" altLang="en-US" dirty="0" smtClean="0"/>
              <a:t>All girls</a:t>
            </a:r>
            <a:r>
              <a:rPr lang="en-US" altLang="en-US" baseline="0" dirty="0" smtClean="0"/>
              <a:t> that sell 150+ packages will receive $25.00 DSD great for membership, program registration, and in our shops and so much more. </a:t>
            </a:r>
          </a:p>
          <a:p>
            <a:pPr>
              <a:buFontTx/>
              <a:buChar char="•"/>
            </a:pPr>
            <a:endParaRPr lang="en-US" alt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22</a:t>
            </a:fld>
            <a:endParaRPr lang="en-US"/>
          </a:p>
        </p:txBody>
      </p:sp>
    </p:spTree>
    <p:extLst>
      <p:ext uri="{BB962C8B-B14F-4D97-AF65-F5344CB8AC3E}">
        <p14:creationId xmlns:p14="http://schemas.microsoft.com/office/powerpoint/2010/main" val="4052738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a:prstGeom prst="rect">
            <a:avLst/>
          </a:prstGeom>
          <a:noFill/>
          <a:ln w="12700">
            <a:solidFill>
              <a:prstClr val="black"/>
            </a:solidFill>
          </a:ln>
        </p:spPr>
      </p:sp>
      <p:sp>
        <p:nvSpPr>
          <p:cNvPr id="3" name="Notes Placeholder 2"/>
          <p:cNvSpPr>
            <a:spLocks noGrp="1"/>
          </p:cNvSpPr>
          <p:nvPr>
            <p:ph type="body" idx="1"/>
          </p:nvPr>
        </p:nvSpPr>
        <p:spPr>
          <a:xfrm>
            <a:off x="708025" y="4505325"/>
            <a:ext cx="5661025" cy="368776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This is an exciting reward</a:t>
            </a:r>
            <a:r>
              <a:rPr lang="en-US" sz="1200" baseline="0" dirty="0" smtClean="0">
                <a:latin typeface="+mn-lt"/>
                <a:cs typeface="Calibri"/>
              </a:rPr>
              <a:t> offered to older girl troops!  Troops will earn 10 cents more per package if they achieve a 150 troop PGA in I/O  and submit the Opt Out form by February 24</a:t>
            </a:r>
            <a:r>
              <a:rPr lang="en-US" sz="1200" baseline="30000" dirty="0" smtClean="0">
                <a:latin typeface="+mn-lt"/>
                <a:cs typeface="Calibri"/>
              </a:rPr>
              <a:t>th</a:t>
            </a:r>
            <a:r>
              <a:rPr lang="en-US" sz="1200" baseline="0" dirty="0" smtClean="0">
                <a:latin typeface="+mn-lt"/>
                <a:cs typeface="Calibri"/>
              </a:rPr>
              <a:t>.</a:t>
            </a:r>
            <a:endParaRPr lang="en-US" sz="1200" dirty="0">
              <a:latin typeface="+mn-lt"/>
              <a:cs typeface="Calibri"/>
            </a:endParaRPr>
          </a:p>
          <a:p>
            <a:endParaRPr lang="en-US" baseline="0" dirty="0"/>
          </a:p>
          <a:p>
            <a:endParaRPr lang="en-US" baseline="0" dirty="0"/>
          </a:p>
          <a:p>
            <a:endParaRPr lang="en-US" dirty="0"/>
          </a:p>
        </p:txBody>
      </p:sp>
    </p:spTree>
    <p:extLst>
      <p:ext uri="{BB962C8B-B14F-4D97-AF65-F5344CB8AC3E}">
        <p14:creationId xmlns:p14="http://schemas.microsoft.com/office/powerpoint/2010/main" val="1713422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Thank you for joining</a:t>
            </a:r>
            <a:r>
              <a:rPr lang="en-IN" baseline="0" dirty="0" smtClean="0"/>
              <a:t> us for the 2023</a:t>
            </a:r>
            <a:r>
              <a:rPr lang="en-IN" baseline="0" dirty="0"/>
              <a:t> </a:t>
            </a:r>
            <a:r>
              <a:rPr lang="en-IN" baseline="0" dirty="0" smtClean="0"/>
              <a:t>Cookie Program.</a:t>
            </a:r>
          </a:p>
        </p:txBody>
      </p:sp>
      <p:sp>
        <p:nvSpPr>
          <p:cNvPr id="4" name="Slide Number Placeholder 3"/>
          <p:cNvSpPr>
            <a:spLocks noGrp="1"/>
          </p:cNvSpPr>
          <p:nvPr>
            <p:ph type="sldNum" sz="quarter" idx="5"/>
          </p:nvPr>
        </p:nvSpPr>
        <p:spPr/>
        <p:txBody>
          <a:bodyPr/>
          <a:lstStyle/>
          <a:p>
            <a:fld id="{F514DDC4-ADBF-A24B-98B0-F1128EB6762E}" type="slidenum">
              <a:rPr lang="en-US" smtClean="0"/>
              <a:t>2</a:t>
            </a:fld>
            <a:endParaRPr lang="en-US"/>
          </a:p>
        </p:txBody>
      </p:sp>
    </p:spTree>
    <p:extLst>
      <p:ext uri="{BB962C8B-B14F-4D97-AF65-F5344CB8AC3E}">
        <p14:creationId xmlns:p14="http://schemas.microsoft.com/office/powerpoint/2010/main" val="3393121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altLang="en-US" dirty="0" smtClean="0"/>
              <a:t>Dough Si Dough is another part</a:t>
            </a:r>
            <a:r>
              <a:rPr lang="en-US" altLang="en-US" baseline="0" dirty="0" smtClean="0"/>
              <a:t> of GSHH’s rewards design.  Dough Si Dough has an assigned value and can be used in our GSHH shops for Program, Camp, camp trading post, or for a girl’s registration.  DSD is sent by email in June directly to the girl ‘s caregiver address.</a:t>
            </a:r>
          </a:p>
          <a:p>
            <a:pPr>
              <a:buFontTx/>
              <a:buChar char="•"/>
            </a:pPr>
            <a:r>
              <a:rPr lang="en-US" altLang="en-US" dirty="0" smtClean="0"/>
              <a:t>Our PGA</a:t>
            </a:r>
            <a:r>
              <a:rPr lang="en-US" altLang="en-US" baseline="0" dirty="0" smtClean="0"/>
              <a:t> goal to receive $25.00 DSD is 150.  </a:t>
            </a:r>
            <a:r>
              <a:rPr lang="en-US" altLang="en-US" dirty="0" smtClean="0"/>
              <a:t>We hope our reward items at that level will incentivize younger girls to reach this goal.  </a:t>
            </a:r>
          </a:p>
          <a:p>
            <a:pPr>
              <a:buFontTx/>
              <a:buChar char="•"/>
            </a:pPr>
            <a:r>
              <a:rPr lang="en-US" altLang="en-US" dirty="0" smtClean="0"/>
              <a:t>We</a:t>
            </a:r>
            <a:r>
              <a:rPr lang="en-US" altLang="en-US" baseline="0" dirty="0" smtClean="0"/>
              <a:t> hope that the new option for the older girls for Opt Out will give them the option for new opportunities. </a:t>
            </a:r>
            <a:endParaRPr lang="en-US" alt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25</a:t>
            </a:fld>
            <a:endParaRPr lang="en-US"/>
          </a:p>
        </p:txBody>
      </p:sp>
    </p:spTree>
    <p:extLst>
      <p:ext uri="{BB962C8B-B14F-4D97-AF65-F5344CB8AC3E}">
        <p14:creationId xmlns:p14="http://schemas.microsoft.com/office/powerpoint/2010/main" val="11059838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All troops must have a bank account.  There will be three ACH sweeps where a third of the amount owed will be debited from the troop account. Troops should deposit money often into the troop bank accou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ACH dates 1</a:t>
            </a:r>
            <a:r>
              <a:rPr kumimoji="0" lang="en-US" sz="1200" b="0" i="0" u="none" strike="noStrike" kern="1200" cap="none" spc="0" normalizeH="0" baseline="30000" noProof="0" dirty="0" smtClean="0">
                <a:ln>
                  <a:noFill/>
                </a:ln>
                <a:solidFill>
                  <a:prstClr val="black"/>
                </a:solidFill>
                <a:effectLst/>
                <a:uLnTx/>
                <a:uFillTx/>
                <a:latin typeface="+mn-lt"/>
                <a:ea typeface="+mn-ea"/>
                <a:cs typeface="+mn-cs"/>
              </a:rPr>
              <a:t>st</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 May 11</a:t>
            </a:r>
            <a:r>
              <a:rPr kumimoji="0" lang="en-US" sz="1200" b="0" i="0" u="none" strike="noStrike" kern="1200" cap="none" spc="0" normalizeH="0" baseline="30000" noProof="0" dirty="0" smtClean="0">
                <a:ln>
                  <a:noFill/>
                </a:ln>
                <a:solidFill>
                  <a:prstClr val="black"/>
                </a:solidFill>
                <a:effectLst/>
                <a:uLnTx/>
                <a:uFillTx/>
                <a:latin typeface="+mn-lt"/>
                <a:ea typeface="+mn-ea"/>
                <a:cs typeface="+mn-cs"/>
              </a:rPr>
              <a:t>th</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 2</a:t>
            </a:r>
            <a:r>
              <a:rPr kumimoji="0" lang="en-US" sz="1200" b="0" i="0" u="none" strike="noStrike" kern="1200" cap="none" spc="0" normalizeH="0" baseline="30000" noProof="0" dirty="0" smtClean="0">
                <a:ln>
                  <a:noFill/>
                </a:ln>
                <a:solidFill>
                  <a:prstClr val="black"/>
                </a:solidFill>
                <a:effectLst/>
                <a:uLnTx/>
                <a:uFillTx/>
                <a:latin typeface="+mn-lt"/>
                <a:ea typeface="+mn-ea"/>
                <a:cs typeface="+mn-cs"/>
              </a:rPr>
              <a:t>nd</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 May 25</a:t>
            </a:r>
            <a:r>
              <a:rPr kumimoji="0" lang="en-US" sz="1200" b="0" i="0" u="none" strike="noStrike" kern="1200" cap="none" spc="0" normalizeH="0" baseline="30000" noProof="0" dirty="0" smtClean="0">
                <a:ln>
                  <a:noFill/>
                </a:ln>
                <a:solidFill>
                  <a:prstClr val="black"/>
                </a:solidFill>
                <a:effectLst/>
                <a:uLnTx/>
                <a:uFillTx/>
                <a:latin typeface="+mn-lt"/>
                <a:ea typeface="+mn-ea"/>
                <a:cs typeface="+mn-cs"/>
              </a:rPr>
              <a:t>th</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and final June 8</a:t>
            </a:r>
            <a:r>
              <a:rPr kumimoji="0" lang="en-US" sz="1200" b="0" i="0" u="none" strike="noStrike" kern="1200" cap="none" spc="0" normalizeH="0" baseline="30000" noProof="0" dirty="0" smtClean="0">
                <a:ln>
                  <a:noFill/>
                </a:ln>
                <a:solidFill>
                  <a:prstClr val="black"/>
                </a:solidFill>
                <a:effectLst/>
                <a:uLnTx/>
                <a:uFillTx/>
                <a:latin typeface="+mn-lt"/>
                <a:ea typeface="+mn-ea"/>
                <a:cs typeface="+mn-cs"/>
              </a:rPr>
              <a:t>th</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You should fill out the Outstanding Cookie Balance form that will be on the website if needed at any point in the seas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The troop should give receipts for all transactions. Fill out a receipt each time money or cookies are exchanged. Parents are responsible for all Girl Scout cookies and money received. Have parents, not girls, sign receipts. Make sure adults count cookies before signing receip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Count money in front of parent before signing receipt.</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27</a:t>
            </a:fld>
            <a:endParaRPr lang="en-US"/>
          </a:p>
        </p:txBody>
      </p:sp>
    </p:spTree>
    <p:extLst>
      <p:ext uri="{BB962C8B-B14F-4D97-AF65-F5344CB8AC3E}">
        <p14:creationId xmlns:p14="http://schemas.microsoft.com/office/powerpoint/2010/main" val="3475429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0590" indent="-189267">
              <a:spcBef>
                <a:spcPct val="0"/>
              </a:spcBef>
              <a:buFontTx/>
              <a:buChar char="•"/>
              <a:tabLst>
                <a:tab pos="200590" algn="l"/>
              </a:tabLst>
            </a:pPr>
            <a:r>
              <a:rPr lang="en-US" altLang="en-US" dirty="0" smtClean="0"/>
              <a:t>Our program, Operation Cookie Drop, is headed by an amazing volunteer Alison Bergman who has coordinated donation shipments by Navy ships, Air Force flights, and so many other avenues of distribution! The boxes go to bases across the globe, to veterans, hospitals, Honor Flights.</a:t>
            </a:r>
            <a:r>
              <a:rPr lang="en-US" altLang="en-US" baseline="0" dirty="0" smtClean="0"/>
              <a:t>! </a:t>
            </a:r>
            <a:r>
              <a:rPr lang="en-US" altLang="en-US" dirty="0" smtClean="0"/>
              <a:t>We’re asking you to emphasize that many people would like to support the girls but don’t want the cookies, this program benefits both the girls and our Armed forces and veterans!</a:t>
            </a:r>
          </a:p>
          <a:p>
            <a:pPr marL="200590" indent="-189267">
              <a:spcBef>
                <a:spcPct val="0"/>
              </a:spcBef>
              <a:buFontTx/>
              <a:buChar char="•"/>
              <a:tabLst>
                <a:tab pos="200590" algn="l"/>
              </a:tabLst>
            </a:pPr>
            <a:r>
              <a:rPr lang="en-US" altLang="en-US" dirty="0" smtClean="0"/>
              <a:t>Customers can donate on the order card in Digital Cookie and troops should set up a donation box at their booths.  We have very generous neighbors and we know our girls can make this happen! In 2022, GSHH collected more than 100,000</a:t>
            </a:r>
            <a:r>
              <a:rPr lang="en-US" altLang="en-US" baseline="0" dirty="0" smtClean="0"/>
              <a:t> </a:t>
            </a:r>
            <a:r>
              <a:rPr lang="en-US" altLang="en-US" dirty="0" smtClean="0"/>
              <a:t>packages for our military.  </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29</a:t>
            </a:fld>
            <a:endParaRPr lang="en-US"/>
          </a:p>
        </p:txBody>
      </p:sp>
    </p:spTree>
    <p:extLst>
      <p:ext uri="{BB962C8B-B14F-4D97-AF65-F5344CB8AC3E}">
        <p14:creationId xmlns:p14="http://schemas.microsoft.com/office/powerpoint/2010/main" val="17066578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smtClean="0"/>
              <a:t>eBudde is your friend and ours!  This is your cookie management tool</a:t>
            </a:r>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0</a:t>
            </a:fld>
            <a:endParaRPr lang="en-US"/>
          </a:p>
        </p:txBody>
      </p:sp>
    </p:spTree>
    <p:extLst>
      <p:ext uri="{BB962C8B-B14F-4D97-AF65-F5344CB8AC3E}">
        <p14:creationId xmlns:p14="http://schemas.microsoft.com/office/powerpoint/2010/main" val="1808121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altLang="en-US" dirty="0" smtClean="0"/>
              <a:t>All users get</a:t>
            </a:r>
            <a:r>
              <a:rPr lang="en-US" altLang="en-US" baseline="0" dirty="0" smtClean="0"/>
              <a:t> </a:t>
            </a:r>
            <a:r>
              <a:rPr lang="en-US" altLang="en-US" dirty="0" smtClean="0"/>
              <a:t>an email with a link to set up a password. </a:t>
            </a:r>
          </a:p>
          <a:p>
            <a:pPr>
              <a:buFontTx/>
              <a:buChar char="•"/>
            </a:pPr>
            <a:r>
              <a:rPr lang="en-US" altLang="en-US" dirty="0" smtClean="0"/>
              <a:t>All users must enter their contact information once in eBudde. </a:t>
            </a:r>
          </a:p>
          <a:p>
            <a:pPr>
              <a:buFontTx/>
              <a:buChar char="•"/>
            </a:pPr>
            <a:r>
              <a:rPr lang="en-US" altLang="en-US" dirty="0" smtClean="0"/>
              <a:t> Important – Troop Cookie Chairs Must be Registered and have a background check.  Leaders should email MC(</a:t>
            </a:r>
            <a:r>
              <a:rPr lang="en-US" altLang="en-US" dirty="0" err="1" smtClean="0"/>
              <a:t>MemberCare</a:t>
            </a:r>
            <a:r>
              <a:rPr lang="en-US" altLang="en-US" dirty="0" smtClean="0"/>
              <a:t>) and MC will get the Chairs into eBudde after confirming registration and background check.</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1</a:t>
            </a:fld>
            <a:endParaRPr lang="en-US"/>
          </a:p>
        </p:txBody>
      </p:sp>
    </p:spTree>
    <p:extLst>
      <p:ext uri="{BB962C8B-B14F-4D97-AF65-F5344CB8AC3E}">
        <p14:creationId xmlns:p14="http://schemas.microsoft.com/office/powerpoint/2010/main" val="2340708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This is how to proceed from the link. If you didn’t go to the eBudde.littlebrownie.com</a:t>
            </a:r>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2</a:t>
            </a:fld>
            <a:endParaRPr lang="en-US"/>
          </a:p>
        </p:txBody>
      </p:sp>
    </p:spTree>
    <p:extLst>
      <p:ext uri="{BB962C8B-B14F-4D97-AF65-F5344CB8AC3E}">
        <p14:creationId xmlns:p14="http://schemas.microsoft.com/office/powerpoint/2010/main" val="718826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t>We have resources that you can use.</a:t>
            </a:r>
          </a:p>
          <a:p>
            <a:r>
              <a:rPr lang="en-US" altLang="en-US" dirty="0" smtClean="0"/>
              <a:t>Troop Cookie Book has detailed calendar</a:t>
            </a:r>
            <a:r>
              <a:rPr lang="en-US" altLang="en-US" baseline="0" dirty="0" smtClean="0"/>
              <a:t> and specifics about the whole cookie sale.  You can download the book from the GSHH website on the For Volunteers page.</a:t>
            </a:r>
            <a:endParaRPr lang="en-US" altLang="en-US" dirty="0" smtClean="0"/>
          </a:p>
          <a:p>
            <a:r>
              <a:rPr lang="en-US" altLang="en-US" dirty="0" smtClean="0"/>
              <a:t>Troops should check the website for videos, recorded webinars, and Q&amp;A’s.  We have a couple of webinars on specific topics already scheduled.  We will add to these and add other things on the website as the season moves along.</a:t>
            </a:r>
          </a:p>
          <a:p>
            <a:r>
              <a:rPr lang="en-US" altLang="en-US" dirty="0" smtClean="0"/>
              <a:t>Headlines &amp; Happenings goes to all Leaders weekly.  We will often put reminders or pertinent information in  it.</a:t>
            </a:r>
          </a:p>
          <a:p>
            <a:r>
              <a:rPr lang="en-US" altLang="en-US" dirty="0" smtClean="0"/>
              <a:t>Also, the SU Agenda from Council often includes information for troop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3</a:t>
            </a:fld>
            <a:endParaRPr lang="en-US"/>
          </a:p>
        </p:txBody>
      </p:sp>
    </p:spTree>
    <p:extLst>
      <p:ext uri="{BB962C8B-B14F-4D97-AF65-F5344CB8AC3E}">
        <p14:creationId xmlns:p14="http://schemas.microsoft.com/office/powerpoint/2010/main" val="33756054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smtClean="0"/>
              <a:t>Communicating with families is an important</a:t>
            </a:r>
            <a:r>
              <a:rPr lang="en-US" altLang="en-US" baseline="0" dirty="0" smtClean="0"/>
              <a:t> part of your role. Agree with families on a communication method (email, phone, text, Facebook group, etc.). Check in with your families regularly to keep everyone involved. In eBudde, you can reach out to your families by sending an email.  Recognize that, like you, everyone is busy so it’s wise to limit how often you send out emails.</a:t>
            </a:r>
          </a:p>
          <a:p>
            <a:r>
              <a:rPr lang="en-US" altLang="en-US" dirty="0" smtClean="0"/>
              <a:t>Our Member Care Team is ready to help you.</a:t>
            </a:r>
            <a:r>
              <a:rPr lang="en-US" altLang="en-US" baseline="0" dirty="0" smtClean="0"/>
              <a:t> T</a:t>
            </a:r>
            <a:r>
              <a:rPr lang="en-US" altLang="en-US" dirty="0" smtClean="0"/>
              <a:t>hey will be prepared with answers to all the common questions – and some not so common!  If they don’t have the answer, they will pass on the question to the Product Sales Team.</a:t>
            </a:r>
          </a:p>
          <a:p>
            <a:r>
              <a:rPr lang="en-US" altLang="en-US" dirty="0" smtClean="0"/>
              <a:t>BTW eBudde emails look different, almost like junk mail, since they look different they are easy to recognize.</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4</a:t>
            </a:fld>
            <a:endParaRPr lang="en-US"/>
          </a:p>
        </p:txBody>
      </p:sp>
    </p:spTree>
    <p:extLst>
      <p:ext uri="{BB962C8B-B14F-4D97-AF65-F5344CB8AC3E}">
        <p14:creationId xmlns:p14="http://schemas.microsoft.com/office/powerpoint/2010/main" val="24344596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Tx/>
              <a:buChar char="•"/>
            </a:pPr>
            <a:r>
              <a:rPr lang="en-US" altLang="en-US" dirty="0" smtClean="0"/>
              <a:t>Delivery dates</a:t>
            </a:r>
          </a:p>
          <a:p>
            <a:pPr>
              <a:buFontTx/>
              <a:buChar char="•"/>
            </a:pPr>
            <a:r>
              <a:rPr lang="en-US" altLang="en-US" dirty="0" smtClean="0"/>
              <a:t>We will enter the dates and time in eBudde and set up the sign-up sheet.</a:t>
            </a:r>
          </a:p>
          <a:p>
            <a:pPr>
              <a:buFontTx/>
              <a:buChar char="•"/>
            </a:pPr>
            <a:r>
              <a:rPr lang="en-US" altLang="en-US" dirty="0" smtClean="0"/>
              <a:t>Council will set up delivery locations and times for troops to choose from. It will most likely </a:t>
            </a:r>
            <a:r>
              <a:rPr lang="en-US" altLang="en-US" baseline="0" dirty="0" smtClean="0"/>
              <a:t>be most of the same locations as we had last year. </a:t>
            </a:r>
          </a:p>
          <a:p>
            <a:pPr>
              <a:buFontTx/>
              <a:buChar char="•"/>
            </a:pPr>
            <a:r>
              <a:rPr lang="en-US" dirty="0" smtClean="0"/>
              <a:t>Council will continue to take the lead on delivery, with most sites GSHH-owned.  </a:t>
            </a:r>
            <a:r>
              <a:rPr lang="en-US" dirty="0" err="1" smtClean="0"/>
              <a:t>McCollisters</a:t>
            </a:r>
            <a:r>
              <a:rPr lang="en-US" dirty="0" smtClean="0"/>
              <a:t> will not be</a:t>
            </a:r>
            <a:r>
              <a:rPr lang="en-US" baseline="0" dirty="0" smtClean="0"/>
              <a:t> a cookie delivery agent this year, so their warehouse in Poughkeepsie will be replaced an announced at a future date.</a:t>
            </a:r>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6</a:t>
            </a:fld>
            <a:endParaRPr lang="en-US"/>
          </a:p>
        </p:txBody>
      </p:sp>
    </p:spTree>
    <p:extLst>
      <p:ext uri="{BB962C8B-B14F-4D97-AF65-F5344CB8AC3E}">
        <p14:creationId xmlns:p14="http://schemas.microsoft.com/office/powerpoint/2010/main" val="471453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lease arrive on time. Please make sure that you have the right size vehicle</a:t>
            </a:r>
            <a:r>
              <a:rPr lang="en-US" baseline="0" dirty="0" smtClean="0"/>
              <a:t> for your troop’s orders.  If you are not available to pick up on the delivery date please make sure that another adult from your troop is able to do so.  And always count, count and count again!</a:t>
            </a:r>
            <a:endParaRPr lang="en-US"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37</a:t>
            </a:fld>
            <a:endParaRPr lang="en-US"/>
          </a:p>
        </p:txBody>
      </p:sp>
    </p:spTree>
    <p:extLst>
      <p:ext uri="{BB962C8B-B14F-4D97-AF65-F5344CB8AC3E}">
        <p14:creationId xmlns:p14="http://schemas.microsoft.com/office/powerpoint/2010/main" val="4021118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t>Training is crucial as it ensures your girls are ready to take on the cookie season. For families, you are the information source for all things cookies – from distributing key program materials to directing them to helpful resources. As helper, you assist with and respond to families who have issues or concerns.  The cookies season is a joyous, but sometimes hectic time of year. You are the troop’s #1 cookie supporter.  So take time to re-energize them throughout the sale.</a:t>
            </a:r>
            <a:endParaRPr lang="en-US" dirty="0" smtClean="0"/>
          </a:p>
          <a:p>
            <a:endParaRPr lang="en-IN"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14DDC4-ADBF-A24B-98B0-F1128EB6762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435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Cookie prices remain the same as last year. New and exciting cookies (Raspberry Rally and The  </a:t>
            </a:r>
            <a:r>
              <a:rPr lang="en-US" dirty="0" err="1" smtClean="0"/>
              <a:t>Adventurefuls</a:t>
            </a:r>
            <a:r>
              <a:rPr lang="en-US" baseline="0" dirty="0" smtClean="0"/>
              <a:t>) are part of the $5 core.   The S’mores and the Toffee </a:t>
            </a:r>
            <a:r>
              <a:rPr lang="en-US" baseline="0" dirty="0" err="1" smtClean="0"/>
              <a:t>Tastics</a:t>
            </a:r>
            <a:r>
              <a:rPr lang="en-US" baseline="0" dirty="0" smtClean="0"/>
              <a:t> are the only two that are part of the specialty cookies at $6 each. </a:t>
            </a:r>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4</a:t>
            </a:fld>
            <a:endParaRPr lang="en-US"/>
          </a:p>
        </p:txBody>
      </p:sp>
    </p:spTree>
    <p:extLst>
      <p:ext uri="{BB962C8B-B14F-4D97-AF65-F5344CB8AC3E}">
        <p14:creationId xmlns:p14="http://schemas.microsoft.com/office/powerpoint/2010/main" val="3527188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1175" lvl="1"/>
            <a:r>
              <a:rPr lang="en-US" sz="1200" dirty="0" smtClean="0"/>
              <a:t>Consumers are </a:t>
            </a:r>
            <a:r>
              <a:rPr lang="en-US" sz="1200" u="sng" dirty="0" smtClean="0"/>
              <a:t>craving raspberry </a:t>
            </a:r>
            <a:r>
              <a:rPr lang="en-US" sz="1200" dirty="0" smtClean="0"/>
              <a:t>– a growing flavor among sweets and cookies in the U.S.</a:t>
            </a:r>
          </a:p>
          <a:p>
            <a:pPr marL="511175" lvl="1"/>
            <a:r>
              <a:rPr lang="en-US" sz="1200" dirty="0" smtClean="0"/>
              <a:t>Thins, as a concept overall, remain </a:t>
            </a:r>
            <a:r>
              <a:rPr lang="en-US" sz="1200" u="sng" dirty="0" smtClean="0"/>
              <a:t>compelling in the market </a:t>
            </a:r>
            <a:r>
              <a:rPr lang="en-US" sz="1200" dirty="0" smtClean="0"/>
              <a:t>(Brownie Brittle, Oreo Thins, Chips Ahoy! Thins, </a:t>
            </a:r>
            <a:r>
              <a:rPr lang="en-US" sz="1200" dirty="0" err="1" smtClean="0"/>
              <a:t>Tates</a:t>
            </a:r>
            <a:r>
              <a:rPr lang="en-US" sz="1200" dirty="0" smtClean="0"/>
              <a:t>, </a:t>
            </a:r>
            <a:r>
              <a:rPr lang="en-US" sz="1200" dirty="0" err="1" smtClean="0"/>
              <a:t>Thinsters</a:t>
            </a:r>
            <a:r>
              <a:rPr lang="en-US" sz="1200" dirty="0" smtClean="0"/>
              <a:t>),</a:t>
            </a:r>
          </a:p>
          <a:p>
            <a:pPr marL="511175" lvl="1"/>
            <a:r>
              <a:rPr lang="en-US" sz="1200" dirty="0" smtClean="0"/>
              <a:t>appealing to both </a:t>
            </a:r>
            <a:r>
              <a:rPr lang="en-US" sz="1200" u="sng" dirty="0" smtClean="0"/>
              <a:t>Cookie Lovers </a:t>
            </a:r>
            <a:r>
              <a:rPr lang="en-US" sz="1200" dirty="0" smtClean="0"/>
              <a:t>and </a:t>
            </a:r>
            <a:r>
              <a:rPr lang="en-US" sz="1200" u="sng" dirty="0" smtClean="0"/>
              <a:t>Life Balancers</a:t>
            </a:r>
            <a:r>
              <a:rPr lang="en-US" sz="1200" dirty="0" smtClean="0"/>
              <a:t> with an opportunity to bring new consumers into the Cookie Sale.</a:t>
            </a:r>
          </a:p>
          <a:p>
            <a:pPr marL="511175" lvl="1"/>
            <a:endParaRPr lang="en-US" sz="1200" dirty="0" smtClean="0"/>
          </a:p>
          <a:p>
            <a:pPr marL="625475" lvl="1" indent="-342900"/>
            <a:r>
              <a:rPr lang="en-US" sz="2000" u="sng" dirty="0" smtClean="0"/>
              <a:t>Plum colored package </a:t>
            </a:r>
            <a:r>
              <a:rPr lang="en-US" sz="2000" dirty="0" smtClean="0"/>
              <a:t>to build on fun, delicious raspberry color and flavor,</a:t>
            </a:r>
          </a:p>
          <a:p>
            <a:pPr marL="625475" lvl="1" indent="-342900"/>
            <a:r>
              <a:rPr lang="en-US" sz="2000" dirty="0" smtClean="0"/>
              <a:t>Clear sweet </a:t>
            </a:r>
            <a:r>
              <a:rPr lang="en-US" sz="2000" u="sng" dirty="0" smtClean="0"/>
              <a:t>raspberry aroma </a:t>
            </a:r>
            <a:r>
              <a:rPr lang="en-US" sz="2000" dirty="0" smtClean="0"/>
              <a:t>that is distinct from chocolate.</a:t>
            </a:r>
          </a:p>
          <a:p>
            <a:pPr marL="625475" lvl="1" indent="-342900"/>
            <a:r>
              <a:rPr lang="en-US" sz="2000" u="sng" dirty="0" smtClean="0"/>
              <a:t>Bright pink base cake </a:t>
            </a:r>
            <a:r>
              <a:rPr lang="en-US" sz="2000" dirty="0" smtClean="0"/>
              <a:t>to contrast with dark brown coating.</a:t>
            </a:r>
          </a:p>
          <a:p>
            <a:pPr marL="625475" lvl="1" indent="-342900"/>
            <a:r>
              <a:rPr lang="en-US" sz="2000" u="sng" dirty="0" smtClean="0"/>
              <a:t>Flavor</a:t>
            </a:r>
            <a:r>
              <a:rPr lang="en-US" sz="2000" dirty="0" smtClean="0"/>
              <a:t> delivers on consumer expectation of raspberry.</a:t>
            </a:r>
          </a:p>
          <a:p>
            <a:pPr marL="625475" lvl="1" indent="-342900"/>
            <a:r>
              <a:rPr lang="en-US" sz="2000" dirty="0" smtClean="0"/>
              <a:t>Package similar to Thin Mints:</a:t>
            </a:r>
          </a:p>
          <a:p>
            <a:pPr marL="1082675" lvl="2" indent="-342900"/>
            <a:r>
              <a:rPr lang="en-US" sz="1600" dirty="0" smtClean="0"/>
              <a:t>2 sleeves of cookies in carton</a:t>
            </a:r>
          </a:p>
          <a:p>
            <a:pPr marL="1082675" lvl="2" indent="-342900"/>
            <a:r>
              <a:rPr lang="en-US" sz="1600" dirty="0" smtClean="0"/>
              <a:t>9oz net weight</a:t>
            </a:r>
          </a:p>
          <a:p>
            <a:pPr marL="1082675" lvl="2" indent="-342900"/>
            <a:r>
              <a:rPr lang="en-US" sz="1600" dirty="0" smtClean="0"/>
              <a:t>12 cartons/case</a:t>
            </a:r>
            <a:endParaRPr lang="en-US" sz="1200" dirty="0" smtClean="0"/>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5</a:t>
            </a:fld>
            <a:endParaRPr lang="en-US"/>
          </a:p>
        </p:txBody>
      </p:sp>
    </p:spTree>
    <p:extLst>
      <p:ext uri="{BB962C8B-B14F-4D97-AF65-F5344CB8AC3E}">
        <p14:creationId xmlns:p14="http://schemas.microsoft.com/office/powerpoint/2010/main" val="276203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8663" y="1169988"/>
            <a:ext cx="5619750" cy="3160712"/>
          </a:xfrm>
          <a:prstGeom prst="rect">
            <a:avLst/>
          </a:prstGeom>
          <a:noFill/>
          <a:ln w="12700">
            <a:solidFill>
              <a:prstClr val="black"/>
            </a:solidFill>
          </a:ln>
        </p:spPr>
      </p:sp>
      <p:sp>
        <p:nvSpPr>
          <p:cNvPr id="3" name="Notes Placeholder 2"/>
          <p:cNvSpPr>
            <a:spLocks noGrp="1"/>
          </p:cNvSpPr>
          <p:nvPr>
            <p:ph type="body" idx="1"/>
          </p:nvPr>
        </p:nvSpPr>
        <p:spPr>
          <a:xfrm>
            <a:off x="708025" y="4505325"/>
            <a:ext cx="5661025" cy="3687763"/>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cs typeface="Calibri"/>
              </a:rPr>
              <a:t>Hooray for Cookies!</a:t>
            </a:r>
            <a:r>
              <a:rPr lang="en-US" sz="1200" baseline="0" dirty="0" smtClean="0">
                <a:latin typeface="+mn-lt"/>
                <a:cs typeface="Calibri"/>
              </a:rPr>
              <a:t>  We’re so happy to be back on track with our Girl Scout Cookie sale. Girls can take digital orders for donation and for girl delivery starting Feb 10.  Digital will be open for shipping starting Feb 27.</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cookie sale is comprised of 3 distinct phases in specific timeframes.  We will go through each phase on the next slides.</a:t>
            </a:r>
          </a:p>
          <a:p>
            <a:endParaRPr lang="en-US" baseline="0" dirty="0"/>
          </a:p>
          <a:p>
            <a:endParaRPr lang="en-US" baseline="0" dirty="0"/>
          </a:p>
          <a:p>
            <a:endParaRPr lang="en-US" dirty="0"/>
          </a:p>
        </p:txBody>
      </p:sp>
    </p:spTree>
    <p:extLst>
      <p:ext uri="{BB962C8B-B14F-4D97-AF65-F5344CB8AC3E}">
        <p14:creationId xmlns:p14="http://schemas.microsoft.com/office/powerpoint/2010/main" val="3540972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ltLang="en-US" dirty="0" smtClean="0"/>
              <a:t>Initial order is the first phase and usually the biggest portion of the sale.  Girls take orders and troops enter the order into our cookie management system, eBudde.  More about eBudde later.</a:t>
            </a:r>
          </a:p>
          <a:p>
            <a:pPr marL="171450" indent="-171450">
              <a:buFontTx/>
              <a:buChar char="•"/>
            </a:pPr>
            <a:endParaRPr lang="en-US" altLang="en-US" dirty="0" smtClean="0"/>
          </a:p>
          <a:p>
            <a:pPr marL="171450" indent="-171450">
              <a:buFontTx/>
              <a:buChar char="•"/>
            </a:pPr>
            <a:r>
              <a:rPr lang="en-US" altLang="en-US" dirty="0" smtClean="0"/>
              <a:t>Social media is very helpful to let friends and family know that girls are taking orders—and can be a key part of the troop’s plan for selling cookies in every phase.</a:t>
            </a:r>
          </a:p>
          <a:p>
            <a:pPr marL="171450" indent="-171450">
              <a:buFontTx/>
              <a:buChar char="•"/>
            </a:pPr>
            <a:endParaRPr lang="en-US" altLang="en-US" dirty="0" smtClean="0"/>
          </a:p>
          <a:p>
            <a:pPr marL="171450" indent="-171450">
              <a:buFontTx/>
              <a:buChar char="•"/>
            </a:pPr>
            <a:r>
              <a:rPr lang="en-US" altLang="en-US" dirty="0" smtClean="0"/>
              <a:t>Girl’s Cookie orders must be entered into eBudde by </a:t>
            </a:r>
            <a:r>
              <a:rPr lang="en-US" altLang="en-US" dirty="0" smtClean="0"/>
              <a:t>3/28 </a:t>
            </a:r>
            <a:r>
              <a:rPr lang="en-US" altLang="en-US" dirty="0" smtClean="0"/>
              <a:t>.   The troop then will choose a location and time to pick up cookies. Cookies will be delivered between April 20-22. Troop orders go into eBudde and are ordered by the case—one dozen packages are in a cases.</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7</a:t>
            </a:fld>
            <a:endParaRPr lang="en-US"/>
          </a:p>
        </p:txBody>
      </p:sp>
    </p:spTree>
    <p:extLst>
      <p:ext uri="{BB962C8B-B14F-4D97-AF65-F5344CB8AC3E}">
        <p14:creationId xmlns:p14="http://schemas.microsoft.com/office/powerpoint/2010/main" val="3052593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dirty="0" smtClean="0"/>
              <a:t>eBudde has very real deadlines and troops are locked out by the stated deadline - March </a:t>
            </a:r>
            <a:r>
              <a:rPr lang="en-US" dirty="0" smtClean="0"/>
              <a:t>28th</a:t>
            </a:r>
            <a:r>
              <a:rPr lang="en-US" baseline="0" dirty="0" smtClean="0"/>
              <a:t> </a:t>
            </a:r>
            <a:r>
              <a:rPr lang="en-US" baseline="0" dirty="0" smtClean="0"/>
              <a:t>at noon.</a:t>
            </a:r>
            <a:r>
              <a:rPr lang="en-US" dirty="0" smtClean="0"/>
              <a:t>  </a:t>
            </a:r>
          </a:p>
          <a:p>
            <a:pPr marL="171450" indent="-171450">
              <a:buFont typeface="Arial" panose="020B0604020202020204" pitchFamily="34" charset="0"/>
              <a:buChar char="•"/>
              <a:defRPr/>
            </a:pPr>
            <a:r>
              <a:rPr lang="en-US" dirty="0" smtClean="0"/>
              <a:t>After all the girls’ orders are entered, eBudde will round up to the nearest 12, and order cases of cookies.  The troop is responsible for all the cookies they receive.  Goal getter—later sales—and booth sales can help sell extras you might have. </a:t>
            </a:r>
          </a:p>
          <a:p>
            <a:pPr marL="171450" indent="-171450">
              <a:buFont typeface="Arial" panose="020B0604020202020204" pitchFamily="34" charset="0"/>
              <a:buChar char="•"/>
              <a:defRPr/>
            </a:pPr>
            <a:r>
              <a:rPr lang="en-US" dirty="0" smtClean="0"/>
              <a:t>We will have a live webinar on 3/22 to take you thru the actual screens to enter your sales.  The webinar will be recorded and posted on our GSHH website.</a:t>
            </a:r>
          </a:p>
          <a:p>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8</a:t>
            </a:fld>
            <a:endParaRPr lang="en-US"/>
          </a:p>
        </p:txBody>
      </p:sp>
    </p:spTree>
    <p:extLst>
      <p:ext uri="{BB962C8B-B14F-4D97-AF65-F5344CB8AC3E}">
        <p14:creationId xmlns:p14="http://schemas.microsoft.com/office/powerpoint/2010/main" val="828761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re will be a full list of important dates in, the troop</a:t>
            </a:r>
            <a:r>
              <a:rPr lang="en-US" baseline="0" dirty="0" smtClean="0"/>
              <a:t> cookie book</a:t>
            </a:r>
            <a:r>
              <a:rPr lang="en-US" dirty="0" smtClean="0"/>
              <a:t> and on our website. These are just some key dates. eBudde access for volunteers</a:t>
            </a:r>
            <a:r>
              <a:rPr lang="en-US" baseline="0" dirty="0" smtClean="0"/>
              <a:t> end of</a:t>
            </a:r>
            <a:r>
              <a:rPr lang="en-US" dirty="0" smtClean="0"/>
              <a:t> January</a:t>
            </a:r>
            <a:r>
              <a:rPr lang="en-US" baseline="0" dirty="0" smtClean="0"/>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Digital cookie access begins on February 3</a:t>
            </a:r>
            <a:r>
              <a:rPr lang="en-US" baseline="30000" dirty="0" smtClean="0"/>
              <a:t>rd</a:t>
            </a:r>
            <a:r>
              <a:rPr lang="en-US" baseline="0" dirty="0" smtClean="0"/>
              <a:t> for you.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Parent access to DOC begins on February 9th.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The cookie sale officially begins on Friday, February 10</a:t>
            </a:r>
            <a:r>
              <a:rPr lang="en-US" baseline="30000" dirty="0" smtClean="0"/>
              <a:t>th</a:t>
            </a:r>
            <a:r>
              <a:rPr lang="en-US" baseline="0" dirty="0" smtClean="0"/>
              <a:t> which is also when digital cookie opens for sell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smtClean="0"/>
              <a:t>The initial order period ends on March 26</a:t>
            </a:r>
            <a:r>
              <a:rPr lang="en-US" baseline="30000" dirty="0" smtClean="0"/>
              <a:t>th</a:t>
            </a:r>
            <a:r>
              <a:rPr lang="en-US" baseline="0" dirty="0" smtClean="0"/>
              <a:t> and troops must submit by Monday, March </a:t>
            </a:r>
            <a:r>
              <a:rPr lang="en-US" baseline="0" dirty="0" smtClean="0"/>
              <a:t>28</a:t>
            </a:r>
            <a:r>
              <a:rPr lang="en-US" baseline="30000" dirty="0" smtClean="0"/>
              <a:t>th</a:t>
            </a:r>
            <a:r>
              <a:rPr lang="en-US" baseline="0" dirty="0" smtClean="0"/>
              <a:t>.</a:t>
            </a:r>
            <a:endParaRPr lang="en-US" dirty="0" smtClean="0"/>
          </a:p>
          <a:p>
            <a:pPr marL="171450" indent="-171450">
              <a:buFont typeface="Arial" panose="020B0604020202020204" pitchFamily="34" charset="0"/>
              <a:buChar char="•"/>
            </a:pPr>
            <a:r>
              <a:rPr lang="en-US" dirty="0" smtClean="0"/>
              <a:t>DOC-Digital Order Card opens for girl delivery and donation Feb</a:t>
            </a:r>
            <a:r>
              <a:rPr lang="en-US" baseline="0" dirty="0" smtClean="0"/>
              <a:t>ruary </a:t>
            </a:r>
            <a:r>
              <a:rPr lang="en-US" dirty="0" smtClean="0"/>
              <a:t>10</a:t>
            </a:r>
            <a:r>
              <a:rPr lang="en-US" baseline="30000" dirty="0" smtClean="0"/>
              <a:t>th</a:t>
            </a:r>
            <a:r>
              <a:rPr lang="en-US" dirty="0" smtClean="0"/>
              <a:t> </a:t>
            </a:r>
            <a:r>
              <a:rPr lang="en-US" baseline="0" dirty="0" smtClean="0"/>
              <a:t>and shipping is on February 27</a:t>
            </a:r>
            <a:r>
              <a:rPr lang="en-US" baseline="30000" dirty="0" smtClean="0"/>
              <a:t>th</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EDBBDA6F-721C-4D88-A4C3-0C8570D51D53}" type="slidenum">
              <a:rPr lang="en-US" smtClean="0"/>
              <a:t>9</a:t>
            </a:fld>
            <a:endParaRPr lang="en-US"/>
          </a:p>
        </p:txBody>
      </p:sp>
    </p:spTree>
    <p:extLst>
      <p:ext uri="{BB962C8B-B14F-4D97-AF65-F5344CB8AC3E}">
        <p14:creationId xmlns:p14="http://schemas.microsoft.com/office/powerpoint/2010/main" val="1059707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30.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130.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3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5" Type="http://schemas.microsoft.com/office/2007/relationships/hdphoto" Target="../media/hdphoto3.wdp"/><Relationship Id="rId4" Type="http://schemas.openxmlformats.org/officeDocument/2006/relationships/image" Target="../media/image9.png"/></Relationships>
</file>

<file path=ppt/slideLayouts/_rels/slideLayout3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4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4.png"/><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33.svg"/><Relationship Id="rId3" Type="http://schemas.openxmlformats.org/officeDocument/2006/relationships/image" Target="../media/image25.svg"/><Relationship Id="rId7" Type="http://schemas.openxmlformats.org/officeDocument/2006/relationships/image" Target="../media/image27.svg"/><Relationship Id="rId12" Type="http://schemas.openxmlformats.org/officeDocument/2006/relationships/image" Target="../media/image20.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7.png"/><Relationship Id="rId11" Type="http://schemas.openxmlformats.org/officeDocument/2006/relationships/image" Target="../media/image31.svg"/><Relationship Id="rId5" Type="http://schemas.microsoft.com/office/2007/relationships/hdphoto" Target="../media/hdphoto1.wdp"/><Relationship Id="rId15" Type="http://schemas.openxmlformats.org/officeDocument/2006/relationships/image" Target="../media/image35.svg"/><Relationship Id="rId10" Type="http://schemas.openxmlformats.org/officeDocument/2006/relationships/image" Target="../media/image19.png"/><Relationship Id="rId4" Type="http://schemas.openxmlformats.org/officeDocument/2006/relationships/image" Target="../media/image9.png"/><Relationship Id="rId9" Type="http://schemas.openxmlformats.org/officeDocument/2006/relationships/image" Target="../media/image29.svg"/><Relationship Id="rId1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7.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41.svg"/><Relationship Id="rId4" Type="http://schemas.openxmlformats.org/officeDocument/2006/relationships/image" Target="../media/image2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26.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27.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30.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6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32.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6A35B37-C842-4852-980B-C663544714FE}"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2673498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A35B37-C842-4852-980B-C663544714FE}"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27518986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A35B37-C842-4852-980B-C663544714FE}"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4233591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6" name="Text Placeholder 2">
            <a:extLst>
              <a:ext uri="{FF2B5EF4-FFF2-40B4-BE49-F238E27FC236}">
                <a16:creationId xmlns:a16="http://schemas.microsoft.com/office/drawing/2014/main" id="{E676D837-7E1D-69B0-D707-A9E16D8AAF8B}"/>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2" name="Picture 11">
            <a:extLst>
              <a:ext uri="{FF2B5EF4-FFF2-40B4-BE49-F238E27FC236}">
                <a16:creationId xmlns:a16="http://schemas.microsoft.com/office/drawing/2014/main" id="{5124BDC8-F634-D2B4-EB54-CB70BB172B95}"/>
              </a:ext>
            </a:extLst>
          </p:cNvPr>
          <p:cNvPicPr>
            <a:picLocks noChangeAspect="1"/>
          </p:cNvPicPr>
          <p:nvPr userDrawn="1"/>
        </p:nvPicPr>
        <p:blipFill>
          <a:blip r:embed="rId3"/>
          <a:stretch>
            <a:fillRect/>
          </a:stretch>
        </p:blipFill>
        <p:spPr>
          <a:xfrm>
            <a:off x="0" y="5626104"/>
            <a:ext cx="12204357" cy="1257296"/>
          </a:xfrm>
          <a:prstGeom prst="rect">
            <a:avLst/>
          </a:prstGeom>
        </p:spPr>
      </p:pic>
      <p:sp>
        <p:nvSpPr>
          <p:cNvPr id="13" name="Slide Number Placeholder 4">
            <a:extLst>
              <a:ext uri="{FF2B5EF4-FFF2-40B4-BE49-F238E27FC236}">
                <a16:creationId xmlns:a16="http://schemas.microsoft.com/office/drawing/2014/main" id="{01FE2514-F719-3C9B-7DF5-2D9AE5B9DE20}"/>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532191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Deck Title 1">
    <p:bg>
      <p:bgPr>
        <a:solidFill>
          <a:srgbClr val="0082C8"/>
        </a:solidFill>
        <a:effectLst/>
      </p:bgPr>
    </p:bg>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42900" y="2136339"/>
            <a:ext cx="5562600" cy="2585323"/>
          </a:xfrm>
          <a:prstGeom prst="rect">
            <a:avLst/>
          </a:prstGeom>
        </p:spPr>
        <p:txBody>
          <a:bodyPr wrap="square" lIns="0" tIns="0" rIns="0" bIns="0" anchor="ctr">
            <a:spAutoFit/>
          </a:bodyPr>
          <a:lstStyle>
            <a:lvl1pPr>
              <a:defRPr sz="6000" b="1">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6" name="Picture 5" descr="A picture containing drawing&#10;&#10;Description automatically generated">
            <a:extLst>
              <a:ext uri="{FF2B5EF4-FFF2-40B4-BE49-F238E27FC236}">
                <a16:creationId xmlns:a16="http://schemas.microsoft.com/office/drawing/2014/main" id="{6F942BAF-AB6E-4FED-BC39-82AA974DB416}"/>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10" name="Picture 9" descr="A picture containing sitting, plate, chocolate, doughnut&#10;&#10;Description automatically generated">
            <a:extLst>
              <a:ext uri="{FF2B5EF4-FFF2-40B4-BE49-F238E27FC236}">
                <a16:creationId xmlns:a16="http://schemas.microsoft.com/office/drawing/2014/main" id="{20D76FCC-A801-4A0C-AA3D-5F2A326D404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5753" t="18845" r="7943" b="15508"/>
          <a:stretch/>
        </p:blipFill>
        <p:spPr>
          <a:xfrm>
            <a:off x="6210300" y="3096011"/>
            <a:ext cx="5769794" cy="2987289"/>
          </a:xfrm>
          <a:prstGeom prst="rect">
            <a:avLst/>
          </a:prstGeom>
          <a:effectLst>
            <a:outerShdw blurRad="152400" sx="90000" sy="-19000" rotWithShape="0">
              <a:prstClr val="black">
                <a:alpha val="18000"/>
              </a:prstClr>
            </a:outerShdw>
          </a:effectLst>
        </p:spPr>
      </p:pic>
      <p:pic>
        <p:nvPicPr>
          <p:cNvPr id="26" name="Graphic 25">
            <a:extLst>
              <a:ext uri="{FF2B5EF4-FFF2-40B4-BE49-F238E27FC236}">
                <a16:creationId xmlns:a16="http://schemas.microsoft.com/office/drawing/2014/main" id="{03B2C632-F676-4A83-83DD-8D90A82C28B2}"/>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241300" y="6385792"/>
            <a:ext cx="1782763" cy="243608"/>
          </a:xfrm>
          <a:prstGeom prst="rect">
            <a:avLst/>
          </a:prstGeom>
        </p:spPr>
      </p:pic>
    </p:spTree>
    <p:extLst>
      <p:ext uri="{BB962C8B-B14F-4D97-AF65-F5344CB8AC3E}">
        <p14:creationId xmlns:p14="http://schemas.microsoft.com/office/powerpoint/2010/main" val="335987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Deck Title 1">
    <p:bg>
      <p:bgPr>
        <a:solidFill>
          <a:srgbClr val="0082C8"/>
        </a:solidFill>
        <a:effectLst/>
      </p:bgPr>
    </p:bg>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42900" y="2136339"/>
            <a:ext cx="5562600" cy="2585323"/>
          </a:xfrm>
          <a:prstGeom prst="rect">
            <a:avLst/>
          </a:prstGeom>
        </p:spPr>
        <p:txBody>
          <a:bodyPr wrap="square" lIns="0" tIns="0" rIns="0" bIns="0" anchor="ctr">
            <a:spAutoFit/>
          </a:bodyPr>
          <a:lstStyle>
            <a:lvl1pPr>
              <a:defRPr sz="6000" b="1">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6" name="Picture 5" descr="A picture containing drawing&#10;&#10;Description automatically generated">
            <a:extLst>
              <a:ext uri="{FF2B5EF4-FFF2-40B4-BE49-F238E27FC236}">
                <a16:creationId xmlns:a16="http://schemas.microsoft.com/office/drawing/2014/main" id="{6F942BAF-AB6E-4FED-BC39-82AA974DB416}"/>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26" name="Graphic 25">
            <a:extLst>
              <a:ext uri="{FF2B5EF4-FFF2-40B4-BE49-F238E27FC236}">
                <a16:creationId xmlns:a16="http://schemas.microsoft.com/office/drawing/2014/main" id="{03B2C632-F676-4A83-83DD-8D90A82C28B2}"/>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241300" y="6385792"/>
            <a:ext cx="1782763" cy="243608"/>
          </a:xfrm>
          <a:prstGeom prst="rect">
            <a:avLst/>
          </a:prstGeom>
        </p:spPr>
      </p:pic>
    </p:spTree>
    <p:extLst>
      <p:ext uri="{BB962C8B-B14F-4D97-AF65-F5344CB8AC3E}">
        <p14:creationId xmlns:p14="http://schemas.microsoft.com/office/powerpoint/2010/main" val="2558638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Deck Title 1">
    <p:bg>
      <p:bgPr>
        <a:solidFill>
          <a:srgbClr val="0082C8"/>
        </a:solidFill>
        <a:effectLst/>
      </p:bgPr>
    </p:bg>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42900" y="2136339"/>
            <a:ext cx="5562600" cy="2585323"/>
          </a:xfrm>
          <a:prstGeom prst="rect">
            <a:avLst/>
          </a:prstGeom>
        </p:spPr>
        <p:txBody>
          <a:bodyPr wrap="square" lIns="0" tIns="0" rIns="0" bIns="0" anchor="ctr">
            <a:spAutoFit/>
          </a:bodyPr>
          <a:lstStyle>
            <a:lvl1pPr>
              <a:defRPr sz="6000" b="1">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6" name="Picture 5" descr="A picture containing drawing&#10;&#10;Description automatically generated">
            <a:extLst>
              <a:ext uri="{FF2B5EF4-FFF2-40B4-BE49-F238E27FC236}">
                <a16:creationId xmlns:a16="http://schemas.microsoft.com/office/drawing/2014/main" id="{6F942BAF-AB6E-4FED-BC39-82AA974DB416}"/>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10" name="Picture 9" descr="A picture containing sitting, plate, chocolate, doughnut&#10;&#10;Description automatically generated">
            <a:extLst>
              <a:ext uri="{FF2B5EF4-FFF2-40B4-BE49-F238E27FC236}">
                <a16:creationId xmlns:a16="http://schemas.microsoft.com/office/drawing/2014/main" id="{20D76FCC-A801-4A0C-AA3D-5F2A326D404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5753" t="18845" r="7943" b="15508"/>
          <a:stretch/>
        </p:blipFill>
        <p:spPr>
          <a:xfrm>
            <a:off x="6210300" y="3096011"/>
            <a:ext cx="5769794" cy="2987289"/>
          </a:xfrm>
          <a:prstGeom prst="rect">
            <a:avLst/>
          </a:prstGeom>
          <a:effectLst>
            <a:outerShdw blurRad="152400" sx="90000" sy="-19000" rotWithShape="0">
              <a:prstClr val="black">
                <a:alpha val="18000"/>
              </a:prstClr>
            </a:outerShdw>
          </a:effectLst>
        </p:spPr>
      </p:pic>
      <p:pic>
        <p:nvPicPr>
          <p:cNvPr id="26" name="Graphic 25">
            <a:extLst>
              <a:ext uri="{FF2B5EF4-FFF2-40B4-BE49-F238E27FC236}">
                <a16:creationId xmlns:a16="http://schemas.microsoft.com/office/drawing/2014/main" id="{03B2C632-F676-4A83-83DD-8D90A82C28B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241300" y="6385792"/>
            <a:ext cx="1782763" cy="243608"/>
          </a:xfrm>
          <a:prstGeom prst="rect">
            <a:avLst/>
          </a:prstGeom>
        </p:spPr>
      </p:pic>
    </p:spTree>
    <p:extLst>
      <p:ext uri="{BB962C8B-B14F-4D97-AF65-F5344CB8AC3E}">
        <p14:creationId xmlns:p14="http://schemas.microsoft.com/office/powerpoint/2010/main" val="34363949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5C72175-4828-4861-B1C4-44B5AF196C78}"/>
              </a:ext>
            </a:extLst>
          </p:cNvPr>
          <p:cNvSpPr>
            <a:spLocks noGrp="1"/>
          </p:cNvSpPr>
          <p:nvPr>
            <p:ph type="dt" sz="half" idx="10"/>
          </p:nvPr>
        </p:nvSpPr>
        <p:spPr>
          <a:xfrm>
            <a:off x="228600" y="6459535"/>
            <a:ext cx="2743912" cy="322265"/>
          </a:xfrm>
          <a:prstGeom prst="rect">
            <a:avLst/>
          </a:prstGeom>
        </p:spPr>
        <p:txBody>
          <a:bodyPr/>
          <a:lstStyle/>
          <a:p>
            <a:endParaRPr lang="en-IN"/>
          </a:p>
        </p:txBody>
      </p:sp>
      <p:sp>
        <p:nvSpPr>
          <p:cNvPr id="4" name="Footer Placeholder 3">
            <a:extLst>
              <a:ext uri="{FF2B5EF4-FFF2-40B4-BE49-F238E27FC236}">
                <a16:creationId xmlns:a16="http://schemas.microsoft.com/office/drawing/2014/main" id="{FB045EE0-C837-45B1-9822-D74D9C93FC6F}"/>
              </a:ext>
            </a:extLst>
          </p:cNvPr>
          <p:cNvSpPr>
            <a:spLocks noGrp="1"/>
          </p:cNvSpPr>
          <p:nvPr>
            <p:ph type="ftr" sz="quarter" idx="11"/>
          </p:nvPr>
        </p:nvSpPr>
        <p:spPr>
          <a:xfrm>
            <a:off x="4038956" y="6459535"/>
            <a:ext cx="4114800" cy="322265"/>
          </a:xfrm>
          <a:prstGeom prst="rect">
            <a:avLst/>
          </a:prstGeom>
        </p:spPr>
        <p:txBody>
          <a:bodyPr/>
          <a:lstStyle/>
          <a:p>
            <a:endParaRPr lang="en-IN"/>
          </a:p>
        </p:txBody>
      </p:sp>
      <p:sp>
        <p:nvSpPr>
          <p:cNvPr id="5"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9220200" y="6459535"/>
            <a:ext cx="2743200" cy="322265"/>
          </a:xfrm>
          <a:prstGeom prst="rect">
            <a:avLst/>
          </a:prstGeom>
        </p:spPr>
        <p:txBody>
          <a:bodyPr/>
          <a:lstStyle/>
          <a:p>
            <a:fld id="{8C1CC9D4-B77B-4D62-AC93-E2BD36A15066}" type="slidenum">
              <a:rPr lang="en-IN" smtClean="0"/>
              <a:t>‹#›</a:t>
            </a:fld>
            <a:endParaRPr lang="en-IN"/>
          </a:p>
        </p:txBody>
      </p:sp>
      <p:pic>
        <p:nvPicPr>
          <p:cNvPr id="8" name="Picture 7" descr="A picture containing drawing&#10;&#10;Description automatically generated">
            <a:extLst>
              <a:ext uri="{FF2B5EF4-FFF2-40B4-BE49-F238E27FC236}">
                <a16:creationId xmlns:a16="http://schemas.microsoft.com/office/drawing/2014/main" id="{46BDC5D8-F4E8-48AB-88C0-792F3168CF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sp>
        <p:nvSpPr>
          <p:cNvPr id="10"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9829801" cy="561975"/>
          </a:xfrm>
          <a:prstGeom prst="rect">
            <a:avLst/>
          </a:prstGeom>
        </p:spPr>
        <p:txBody>
          <a:bodyPr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6" name="Text Placeholder 5"/>
          <p:cNvSpPr>
            <a:spLocks noGrp="1"/>
          </p:cNvSpPr>
          <p:nvPr>
            <p:ph type="body" sz="quarter" idx="13"/>
          </p:nvPr>
        </p:nvSpPr>
        <p:spPr>
          <a:xfrm>
            <a:off x="228599" y="914400"/>
            <a:ext cx="11734801" cy="54102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71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Rectangle 24">
            <a:extLst>
              <a:ext uri="{FF2B5EF4-FFF2-40B4-BE49-F238E27FC236}">
                <a16:creationId xmlns:a16="http://schemas.microsoft.com/office/drawing/2014/main" id="{7C33696C-F3DD-443E-BBEA-AF6CED58F5FC}"/>
              </a:ext>
            </a:extLst>
          </p:cNvPr>
          <p:cNvSpPr/>
          <p:nvPr userDrawn="1"/>
        </p:nvSpPr>
        <p:spPr>
          <a:xfrm>
            <a:off x="0" y="0"/>
            <a:ext cx="8778410" cy="7706612"/>
          </a:xfrm>
          <a:custGeom>
            <a:avLst/>
            <a:gdLst>
              <a:gd name="connsiteX0" fmla="*/ 0 w 2626659"/>
              <a:gd name="connsiteY0" fmla="*/ 0 h 2626659"/>
              <a:gd name="connsiteX1" fmla="*/ 2626659 w 2626659"/>
              <a:gd name="connsiteY1" fmla="*/ 0 h 2626659"/>
              <a:gd name="connsiteX2" fmla="*/ 2626659 w 2626659"/>
              <a:gd name="connsiteY2" fmla="*/ 2626659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562806 w 2626659"/>
              <a:gd name="connsiteY2" fmla="*/ 2019244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562806 w 2626659"/>
              <a:gd name="connsiteY2" fmla="*/ 2019244 h 2626659"/>
              <a:gd name="connsiteX3" fmla="*/ 0 w 2626659"/>
              <a:gd name="connsiteY3" fmla="*/ 2626659 h 2626659"/>
              <a:gd name="connsiteX4" fmla="*/ 0 w 2626659"/>
              <a:gd name="connsiteY4" fmla="*/ 0 h 2626659"/>
              <a:gd name="connsiteX0" fmla="*/ 21913 w 2648572"/>
              <a:gd name="connsiteY0" fmla="*/ 0 h 2832460"/>
              <a:gd name="connsiteX1" fmla="*/ 2648572 w 2648572"/>
              <a:gd name="connsiteY1" fmla="*/ 0 h 2832460"/>
              <a:gd name="connsiteX2" fmla="*/ 1180316 w 2648572"/>
              <a:gd name="connsiteY2" fmla="*/ 2651370 h 2832460"/>
              <a:gd name="connsiteX3" fmla="*/ 21913 w 2648572"/>
              <a:gd name="connsiteY3" fmla="*/ 2626659 h 2832460"/>
              <a:gd name="connsiteX4" fmla="*/ 21913 w 2648572"/>
              <a:gd name="connsiteY4" fmla="*/ 0 h 2832460"/>
              <a:gd name="connsiteX0" fmla="*/ 21913 w 2648572"/>
              <a:gd name="connsiteY0" fmla="*/ 0 h 2832460"/>
              <a:gd name="connsiteX1" fmla="*/ 2648572 w 2648572"/>
              <a:gd name="connsiteY1" fmla="*/ 0 h 2832460"/>
              <a:gd name="connsiteX2" fmla="*/ 1180316 w 2648572"/>
              <a:gd name="connsiteY2" fmla="*/ 2651370 h 2832460"/>
              <a:gd name="connsiteX3" fmla="*/ 21913 w 2648572"/>
              <a:gd name="connsiteY3" fmla="*/ 2626659 h 2832460"/>
              <a:gd name="connsiteX4" fmla="*/ 21913 w 2648572"/>
              <a:gd name="connsiteY4" fmla="*/ 0 h 2832460"/>
              <a:gd name="connsiteX0" fmla="*/ 0 w 2626659"/>
              <a:gd name="connsiteY0" fmla="*/ 0 h 2909896"/>
              <a:gd name="connsiteX1" fmla="*/ 2626659 w 2626659"/>
              <a:gd name="connsiteY1" fmla="*/ 0 h 2909896"/>
              <a:gd name="connsiteX2" fmla="*/ 1158403 w 2626659"/>
              <a:gd name="connsiteY2" fmla="*/ 2651370 h 2909896"/>
              <a:gd name="connsiteX3" fmla="*/ 0 w 2626659"/>
              <a:gd name="connsiteY3" fmla="*/ 2626659 h 2909896"/>
              <a:gd name="connsiteX4" fmla="*/ 0 w 2626659"/>
              <a:gd name="connsiteY4" fmla="*/ 0 h 2909896"/>
              <a:gd name="connsiteX0" fmla="*/ 0 w 3592461"/>
              <a:gd name="connsiteY0" fmla="*/ 0 h 2909896"/>
              <a:gd name="connsiteX1" fmla="*/ 3592461 w 3592461"/>
              <a:gd name="connsiteY1" fmla="*/ 0 h 2909896"/>
              <a:gd name="connsiteX2" fmla="*/ 1158403 w 3592461"/>
              <a:gd name="connsiteY2" fmla="*/ 2651370 h 2909896"/>
              <a:gd name="connsiteX3" fmla="*/ 0 w 3592461"/>
              <a:gd name="connsiteY3" fmla="*/ 2626659 h 2909896"/>
              <a:gd name="connsiteX4" fmla="*/ 0 w 3592461"/>
              <a:gd name="connsiteY4" fmla="*/ 0 h 2909896"/>
              <a:gd name="connsiteX0" fmla="*/ 0 w 3592461"/>
              <a:gd name="connsiteY0" fmla="*/ 0 h 2909896"/>
              <a:gd name="connsiteX1" fmla="*/ 3592461 w 3592461"/>
              <a:gd name="connsiteY1" fmla="*/ 0 h 2909896"/>
              <a:gd name="connsiteX2" fmla="*/ 1158403 w 3592461"/>
              <a:gd name="connsiteY2" fmla="*/ 2651370 h 2909896"/>
              <a:gd name="connsiteX3" fmla="*/ 0 w 3592461"/>
              <a:gd name="connsiteY3" fmla="*/ 2626659 h 2909896"/>
              <a:gd name="connsiteX4" fmla="*/ 0 w 3592461"/>
              <a:gd name="connsiteY4" fmla="*/ 0 h 2909896"/>
              <a:gd name="connsiteX0" fmla="*/ 0 w 3592461"/>
              <a:gd name="connsiteY0" fmla="*/ 0 h 2974328"/>
              <a:gd name="connsiteX1" fmla="*/ 3592461 w 3592461"/>
              <a:gd name="connsiteY1" fmla="*/ 0 h 2974328"/>
              <a:gd name="connsiteX2" fmla="*/ 1158403 w 3592461"/>
              <a:gd name="connsiteY2" fmla="*/ 2651370 h 2974328"/>
              <a:gd name="connsiteX3" fmla="*/ 0 w 3592461"/>
              <a:gd name="connsiteY3" fmla="*/ 2626659 h 2974328"/>
              <a:gd name="connsiteX4" fmla="*/ 0 w 3592461"/>
              <a:gd name="connsiteY4" fmla="*/ 0 h 2974328"/>
              <a:gd name="connsiteX0" fmla="*/ 0 w 3592461"/>
              <a:gd name="connsiteY0" fmla="*/ 0 h 2980775"/>
              <a:gd name="connsiteX1" fmla="*/ 3592461 w 3592461"/>
              <a:gd name="connsiteY1" fmla="*/ 0 h 2980775"/>
              <a:gd name="connsiteX2" fmla="*/ 1066191 w 3592461"/>
              <a:gd name="connsiteY2" fmla="*/ 2661076 h 2980775"/>
              <a:gd name="connsiteX3" fmla="*/ 0 w 3592461"/>
              <a:gd name="connsiteY3" fmla="*/ 2626659 h 2980775"/>
              <a:gd name="connsiteX4" fmla="*/ 0 w 3592461"/>
              <a:gd name="connsiteY4" fmla="*/ 0 h 2980775"/>
              <a:gd name="connsiteX0" fmla="*/ 0 w 3592461"/>
              <a:gd name="connsiteY0" fmla="*/ 0 h 2980775"/>
              <a:gd name="connsiteX1" fmla="*/ 3592461 w 3592461"/>
              <a:gd name="connsiteY1" fmla="*/ 0 h 2980775"/>
              <a:gd name="connsiteX2" fmla="*/ 1066191 w 3592461"/>
              <a:gd name="connsiteY2" fmla="*/ 2661076 h 2980775"/>
              <a:gd name="connsiteX3" fmla="*/ 0 w 3592461"/>
              <a:gd name="connsiteY3" fmla="*/ 2626659 h 2980775"/>
              <a:gd name="connsiteX4" fmla="*/ 0 w 3592461"/>
              <a:gd name="connsiteY4" fmla="*/ 0 h 2980775"/>
              <a:gd name="connsiteX0" fmla="*/ 0 w 3354650"/>
              <a:gd name="connsiteY0" fmla="*/ 0 h 2980775"/>
              <a:gd name="connsiteX1" fmla="*/ 3354650 w 3354650"/>
              <a:gd name="connsiteY1" fmla="*/ 0 h 2980775"/>
              <a:gd name="connsiteX2" fmla="*/ 1066191 w 3354650"/>
              <a:gd name="connsiteY2" fmla="*/ 2661076 h 2980775"/>
              <a:gd name="connsiteX3" fmla="*/ 0 w 3354650"/>
              <a:gd name="connsiteY3" fmla="*/ 2626659 h 2980775"/>
              <a:gd name="connsiteX4" fmla="*/ 0 w 3354650"/>
              <a:gd name="connsiteY4" fmla="*/ 0 h 2980775"/>
              <a:gd name="connsiteX0" fmla="*/ 0 w 3354650"/>
              <a:gd name="connsiteY0" fmla="*/ 0 h 2980775"/>
              <a:gd name="connsiteX1" fmla="*/ 3354650 w 3354650"/>
              <a:gd name="connsiteY1" fmla="*/ 0 h 2980775"/>
              <a:gd name="connsiteX2" fmla="*/ 1066191 w 3354650"/>
              <a:gd name="connsiteY2" fmla="*/ 2661076 h 2980775"/>
              <a:gd name="connsiteX3" fmla="*/ 0 w 3354650"/>
              <a:gd name="connsiteY3" fmla="*/ 2626659 h 2980775"/>
              <a:gd name="connsiteX4" fmla="*/ 0 w 3354650"/>
              <a:gd name="connsiteY4" fmla="*/ 0 h 2980775"/>
              <a:gd name="connsiteX0" fmla="*/ 0 w 3354650"/>
              <a:gd name="connsiteY0" fmla="*/ 0 h 2720842"/>
              <a:gd name="connsiteX1" fmla="*/ 3354650 w 3354650"/>
              <a:gd name="connsiteY1" fmla="*/ 0 h 2720842"/>
              <a:gd name="connsiteX2" fmla="*/ 1363771 w 3354650"/>
              <a:gd name="connsiteY2" fmla="*/ 2043229 h 2720842"/>
              <a:gd name="connsiteX3" fmla="*/ 0 w 3354650"/>
              <a:gd name="connsiteY3" fmla="*/ 2626659 h 2720842"/>
              <a:gd name="connsiteX4" fmla="*/ 0 w 3354650"/>
              <a:gd name="connsiteY4" fmla="*/ 0 h 2720842"/>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650" h="2945065">
                <a:moveTo>
                  <a:pt x="0" y="0"/>
                </a:moveTo>
                <a:lnTo>
                  <a:pt x="3354650" y="0"/>
                </a:lnTo>
                <a:cubicBezTo>
                  <a:pt x="1823412" y="597882"/>
                  <a:pt x="1645970" y="1480451"/>
                  <a:pt x="1436570" y="2072349"/>
                </a:cubicBezTo>
                <a:cubicBezTo>
                  <a:pt x="949286" y="3425900"/>
                  <a:pt x="11341" y="2861255"/>
                  <a:pt x="0" y="2626659"/>
                </a:cubicBezTo>
                <a:lnTo>
                  <a:pt x="0" y="0"/>
                </a:lnTo>
                <a:close/>
              </a:path>
            </a:pathLst>
          </a:custGeom>
          <a:solidFill>
            <a:srgbClr val="008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24">
            <a:extLst>
              <a:ext uri="{FF2B5EF4-FFF2-40B4-BE49-F238E27FC236}">
                <a16:creationId xmlns:a16="http://schemas.microsoft.com/office/drawing/2014/main" id="{93426988-F6C8-43AE-B55A-8C9947556545}"/>
              </a:ext>
            </a:extLst>
          </p:cNvPr>
          <p:cNvSpPr/>
          <p:nvPr userDrawn="1"/>
        </p:nvSpPr>
        <p:spPr>
          <a:xfrm>
            <a:off x="0" y="1"/>
            <a:ext cx="8778410" cy="7706612"/>
          </a:xfrm>
          <a:custGeom>
            <a:avLst/>
            <a:gdLst>
              <a:gd name="connsiteX0" fmla="*/ 0 w 2626659"/>
              <a:gd name="connsiteY0" fmla="*/ 0 h 2626659"/>
              <a:gd name="connsiteX1" fmla="*/ 2626659 w 2626659"/>
              <a:gd name="connsiteY1" fmla="*/ 0 h 2626659"/>
              <a:gd name="connsiteX2" fmla="*/ 2626659 w 2626659"/>
              <a:gd name="connsiteY2" fmla="*/ 2626659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562806 w 2626659"/>
              <a:gd name="connsiteY2" fmla="*/ 2019244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562806 w 2626659"/>
              <a:gd name="connsiteY2" fmla="*/ 2019244 h 2626659"/>
              <a:gd name="connsiteX3" fmla="*/ 0 w 2626659"/>
              <a:gd name="connsiteY3" fmla="*/ 2626659 h 2626659"/>
              <a:gd name="connsiteX4" fmla="*/ 0 w 2626659"/>
              <a:gd name="connsiteY4" fmla="*/ 0 h 2626659"/>
              <a:gd name="connsiteX0" fmla="*/ 21913 w 2648572"/>
              <a:gd name="connsiteY0" fmla="*/ 0 h 2832460"/>
              <a:gd name="connsiteX1" fmla="*/ 2648572 w 2648572"/>
              <a:gd name="connsiteY1" fmla="*/ 0 h 2832460"/>
              <a:gd name="connsiteX2" fmla="*/ 1180316 w 2648572"/>
              <a:gd name="connsiteY2" fmla="*/ 2651370 h 2832460"/>
              <a:gd name="connsiteX3" fmla="*/ 21913 w 2648572"/>
              <a:gd name="connsiteY3" fmla="*/ 2626659 h 2832460"/>
              <a:gd name="connsiteX4" fmla="*/ 21913 w 2648572"/>
              <a:gd name="connsiteY4" fmla="*/ 0 h 2832460"/>
              <a:gd name="connsiteX0" fmla="*/ 21913 w 2648572"/>
              <a:gd name="connsiteY0" fmla="*/ 0 h 2832460"/>
              <a:gd name="connsiteX1" fmla="*/ 2648572 w 2648572"/>
              <a:gd name="connsiteY1" fmla="*/ 0 h 2832460"/>
              <a:gd name="connsiteX2" fmla="*/ 1180316 w 2648572"/>
              <a:gd name="connsiteY2" fmla="*/ 2651370 h 2832460"/>
              <a:gd name="connsiteX3" fmla="*/ 21913 w 2648572"/>
              <a:gd name="connsiteY3" fmla="*/ 2626659 h 2832460"/>
              <a:gd name="connsiteX4" fmla="*/ 21913 w 2648572"/>
              <a:gd name="connsiteY4" fmla="*/ 0 h 2832460"/>
              <a:gd name="connsiteX0" fmla="*/ 0 w 2626659"/>
              <a:gd name="connsiteY0" fmla="*/ 0 h 2909896"/>
              <a:gd name="connsiteX1" fmla="*/ 2626659 w 2626659"/>
              <a:gd name="connsiteY1" fmla="*/ 0 h 2909896"/>
              <a:gd name="connsiteX2" fmla="*/ 1158403 w 2626659"/>
              <a:gd name="connsiteY2" fmla="*/ 2651370 h 2909896"/>
              <a:gd name="connsiteX3" fmla="*/ 0 w 2626659"/>
              <a:gd name="connsiteY3" fmla="*/ 2626659 h 2909896"/>
              <a:gd name="connsiteX4" fmla="*/ 0 w 2626659"/>
              <a:gd name="connsiteY4" fmla="*/ 0 h 2909896"/>
              <a:gd name="connsiteX0" fmla="*/ 0 w 3592461"/>
              <a:gd name="connsiteY0" fmla="*/ 0 h 2909896"/>
              <a:gd name="connsiteX1" fmla="*/ 3592461 w 3592461"/>
              <a:gd name="connsiteY1" fmla="*/ 0 h 2909896"/>
              <a:gd name="connsiteX2" fmla="*/ 1158403 w 3592461"/>
              <a:gd name="connsiteY2" fmla="*/ 2651370 h 2909896"/>
              <a:gd name="connsiteX3" fmla="*/ 0 w 3592461"/>
              <a:gd name="connsiteY3" fmla="*/ 2626659 h 2909896"/>
              <a:gd name="connsiteX4" fmla="*/ 0 w 3592461"/>
              <a:gd name="connsiteY4" fmla="*/ 0 h 2909896"/>
              <a:gd name="connsiteX0" fmla="*/ 0 w 3592461"/>
              <a:gd name="connsiteY0" fmla="*/ 0 h 2909896"/>
              <a:gd name="connsiteX1" fmla="*/ 3592461 w 3592461"/>
              <a:gd name="connsiteY1" fmla="*/ 0 h 2909896"/>
              <a:gd name="connsiteX2" fmla="*/ 1158403 w 3592461"/>
              <a:gd name="connsiteY2" fmla="*/ 2651370 h 2909896"/>
              <a:gd name="connsiteX3" fmla="*/ 0 w 3592461"/>
              <a:gd name="connsiteY3" fmla="*/ 2626659 h 2909896"/>
              <a:gd name="connsiteX4" fmla="*/ 0 w 3592461"/>
              <a:gd name="connsiteY4" fmla="*/ 0 h 2909896"/>
              <a:gd name="connsiteX0" fmla="*/ 0 w 3592461"/>
              <a:gd name="connsiteY0" fmla="*/ 0 h 2974328"/>
              <a:gd name="connsiteX1" fmla="*/ 3592461 w 3592461"/>
              <a:gd name="connsiteY1" fmla="*/ 0 h 2974328"/>
              <a:gd name="connsiteX2" fmla="*/ 1158403 w 3592461"/>
              <a:gd name="connsiteY2" fmla="*/ 2651370 h 2974328"/>
              <a:gd name="connsiteX3" fmla="*/ 0 w 3592461"/>
              <a:gd name="connsiteY3" fmla="*/ 2626659 h 2974328"/>
              <a:gd name="connsiteX4" fmla="*/ 0 w 3592461"/>
              <a:gd name="connsiteY4" fmla="*/ 0 h 2974328"/>
              <a:gd name="connsiteX0" fmla="*/ 0 w 3592461"/>
              <a:gd name="connsiteY0" fmla="*/ 0 h 2980775"/>
              <a:gd name="connsiteX1" fmla="*/ 3592461 w 3592461"/>
              <a:gd name="connsiteY1" fmla="*/ 0 h 2980775"/>
              <a:gd name="connsiteX2" fmla="*/ 1066191 w 3592461"/>
              <a:gd name="connsiteY2" fmla="*/ 2661076 h 2980775"/>
              <a:gd name="connsiteX3" fmla="*/ 0 w 3592461"/>
              <a:gd name="connsiteY3" fmla="*/ 2626659 h 2980775"/>
              <a:gd name="connsiteX4" fmla="*/ 0 w 3592461"/>
              <a:gd name="connsiteY4" fmla="*/ 0 h 2980775"/>
              <a:gd name="connsiteX0" fmla="*/ 0 w 3592461"/>
              <a:gd name="connsiteY0" fmla="*/ 0 h 2980775"/>
              <a:gd name="connsiteX1" fmla="*/ 3592461 w 3592461"/>
              <a:gd name="connsiteY1" fmla="*/ 0 h 2980775"/>
              <a:gd name="connsiteX2" fmla="*/ 1066191 w 3592461"/>
              <a:gd name="connsiteY2" fmla="*/ 2661076 h 2980775"/>
              <a:gd name="connsiteX3" fmla="*/ 0 w 3592461"/>
              <a:gd name="connsiteY3" fmla="*/ 2626659 h 2980775"/>
              <a:gd name="connsiteX4" fmla="*/ 0 w 3592461"/>
              <a:gd name="connsiteY4" fmla="*/ 0 h 2980775"/>
              <a:gd name="connsiteX0" fmla="*/ 0 w 3354650"/>
              <a:gd name="connsiteY0" fmla="*/ 0 h 2980775"/>
              <a:gd name="connsiteX1" fmla="*/ 3354650 w 3354650"/>
              <a:gd name="connsiteY1" fmla="*/ 0 h 2980775"/>
              <a:gd name="connsiteX2" fmla="*/ 1066191 w 3354650"/>
              <a:gd name="connsiteY2" fmla="*/ 2661076 h 2980775"/>
              <a:gd name="connsiteX3" fmla="*/ 0 w 3354650"/>
              <a:gd name="connsiteY3" fmla="*/ 2626659 h 2980775"/>
              <a:gd name="connsiteX4" fmla="*/ 0 w 3354650"/>
              <a:gd name="connsiteY4" fmla="*/ 0 h 2980775"/>
              <a:gd name="connsiteX0" fmla="*/ 0 w 3354650"/>
              <a:gd name="connsiteY0" fmla="*/ 0 h 2980775"/>
              <a:gd name="connsiteX1" fmla="*/ 3354650 w 3354650"/>
              <a:gd name="connsiteY1" fmla="*/ 0 h 2980775"/>
              <a:gd name="connsiteX2" fmla="*/ 1066191 w 3354650"/>
              <a:gd name="connsiteY2" fmla="*/ 2661076 h 2980775"/>
              <a:gd name="connsiteX3" fmla="*/ 0 w 3354650"/>
              <a:gd name="connsiteY3" fmla="*/ 2626659 h 2980775"/>
              <a:gd name="connsiteX4" fmla="*/ 0 w 3354650"/>
              <a:gd name="connsiteY4" fmla="*/ 0 h 2980775"/>
              <a:gd name="connsiteX0" fmla="*/ 0 w 3354650"/>
              <a:gd name="connsiteY0" fmla="*/ 0 h 2720842"/>
              <a:gd name="connsiteX1" fmla="*/ 3354650 w 3354650"/>
              <a:gd name="connsiteY1" fmla="*/ 0 h 2720842"/>
              <a:gd name="connsiteX2" fmla="*/ 1363771 w 3354650"/>
              <a:gd name="connsiteY2" fmla="*/ 2043229 h 2720842"/>
              <a:gd name="connsiteX3" fmla="*/ 0 w 3354650"/>
              <a:gd name="connsiteY3" fmla="*/ 2626659 h 2720842"/>
              <a:gd name="connsiteX4" fmla="*/ 0 w 3354650"/>
              <a:gd name="connsiteY4" fmla="*/ 0 h 2720842"/>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30635"/>
              <a:gd name="connsiteX1" fmla="*/ 3354650 w 3354650"/>
              <a:gd name="connsiteY1" fmla="*/ 0 h 2930635"/>
              <a:gd name="connsiteX2" fmla="*/ 1363771 w 3354650"/>
              <a:gd name="connsiteY2" fmla="*/ 2043229 h 2930635"/>
              <a:gd name="connsiteX3" fmla="*/ 0 w 3354650"/>
              <a:gd name="connsiteY3" fmla="*/ 2626659 h 2930635"/>
              <a:gd name="connsiteX4" fmla="*/ 0 w 3354650"/>
              <a:gd name="connsiteY4" fmla="*/ 0 h 293063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 name="connsiteX0" fmla="*/ 0 w 3354650"/>
              <a:gd name="connsiteY0" fmla="*/ 0 h 2945065"/>
              <a:gd name="connsiteX1" fmla="*/ 3354650 w 3354650"/>
              <a:gd name="connsiteY1" fmla="*/ 0 h 2945065"/>
              <a:gd name="connsiteX2" fmla="*/ 1436570 w 3354650"/>
              <a:gd name="connsiteY2" fmla="*/ 2072349 h 2945065"/>
              <a:gd name="connsiteX3" fmla="*/ 0 w 3354650"/>
              <a:gd name="connsiteY3" fmla="*/ 2626659 h 2945065"/>
              <a:gd name="connsiteX4" fmla="*/ 0 w 3354650"/>
              <a:gd name="connsiteY4" fmla="*/ 0 h 2945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650" h="2945065">
                <a:moveTo>
                  <a:pt x="0" y="0"/>
                </a:moveTo>
                <a:lnTo>
                  <a:pt x="3354650" y="0"/>
                </a:lnTo>
                <a:cubicBezTo>
                  <a:pt x="1823412" y="597882"/>
                  <a:pt x="1645970" y="1480451"/>
                  <a:pt x="1436570" y="2072349"/>
                </a:cubicBezTo>
                <a:cubicBezTo>
                  <a:pt x="949286" y="3425900"/>
                  <a:pt x="11341" y="2861255"/>
                  <a:pt x="0" y="2626659"/>
                </a:cubicBezTo>
                <a:lnTo>
                  <a:pt x="0" y="0"/>
                </a:lnTo>
                <a:close/>
              </a:path>
            </a:pathLst>
          </a:custGeom>
          <a:solidFill>
            <a:srgbClr val="008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Picture Placeholder 19">
            <a:extLst>
              <a:ext uri="{FF2B5EF4-FFF2-40B4-BE49-F238E27FC236}">
                <a16:creationId xmlns:a16="http://schemas.microsoft.com/office/drawing/2014/main" id="{21B06985-0A5A-49C1-97C3-7E17BA0FFB02}"/>
              </a:ext>
            </a:extLst>
          </p:cNvPr>
          <p:cNvSpPr>
            <a:spLocks noGrp="1"/>
          </p:cNvSpPr>
          <p:nvPr>
            <p:ph type="pic" sz="quarter" idx="10"/>
          </p:nvPr>
        </p:nvSpPr>
        <p:spPr>
          <a:xfrm>
            <a:off x="0" y="0"/>
            <a:ext cx="8778875" cy="7691482"/>
          </a:xfrm>
          <a:custGeom>
            <a:avLst/>
            <a:gdLst>
              <a:gd name="connsiteX0" fmla="*/ 0 w 8778875"/>
              <a:gd name="connsiteY0" fmla="*/ 0 h 6858000"/>
              <a:gd name="connsiteX1" fmla="*/ 8778875 w 8778875"/>
              <a:gd name="connsiteY1" fmla="*/ 0 h 6858000"/>
              <a:gd name="connsiteX2" fmla="*/ 8778875 w 8778875"/>
              <a:gd name="connsiteY2" fmla="*/ 6858000 h 6858000"/>
              <a:gd name="connsiteX3" fmla="*/ 0 w 8778875"/>
              <a:gd name="connsiteY3" fmla="*/ 6858000 h 6858000"/>
              <a:gd name="connsiteX4" fmla="*/ 0 w 8778875"/>
              <a:gd name="connsiteY4" fmla="*/ 0 h 6858000"/>
              <a:gd name="connsiteX0" fmla="*/ 0 w 8778875"/>
              <a:gd name="connsiteY0" fmla="*/ 0 h 6858000"/>
              <a:gd name="connsiteX1" fmla="*/ 8778875 w 8778875"/>
              <a:gd name="connsiteY1" fmla="*/ 0 h 6858000"/>
              <a:gd name="connsiteX2" fmla="*/ 3013075 w 8778875"/>
              <a:gd name="connsiteY2" fmla="*/ 6845300 h 6858000"/>
              <a:gd name="connsiteX3" fmla="*/ 0 w 8778875"/>
              <a:gd name="connsiteY3" fmla="*/ 6858000 h 6858000"/>
              <a:gd name="connsiteX4" fmla="*/ 0 w 8778875"/>
              <a:gd name="connsiteY4" fmla="*/ 0 h 6858000"/>
              <a:gd name="connsiteX0" fmla="*/ 0 w 8778875"/>
              <a:gd name="connsiteY0" fmla="*/ 0 h 6858000"/>
              <a:gd name="connsiteX1" fmla="*/ 8778875 w 8778875"/>
              <a:gd name="connsiteY1" fmla="*/ 0 h 6858000"/>
              <a:gd name="connsiteX2" fmla="*/ 3013075 w 8778875"/>
              <a:gd name="connsiteY2" fmla="*/ 6845300 h 6858000"/>
              <a:gd name="connsiteX3" fmla="*/ 0 w 8778875"/>
              <a:gd name="connsiteY3" fmla="*/ 6858000 h 6858000"/>
              <a:gd name="connsiteX4" fmla="*/ 0 w 8778875"/>
              <a:gd name="connsiteY4" fmla="*/ 0 h 6858000"/>
              <a:gd name="connsiteX0" fmla="*/ 0 w 8778875"/>
              <a:gd name="connsiteY0" fmla="*/ 0 h 7397055"/>
              <a:gd name="connsiteX1" fmla="*/ 8778875 w 8778875"/>
              <a:gd name="connsiteY1" fmla="*/ 0 h 7397055"/>
              <a:gd name="connsiteX2" fmla="*/ 3013075 w 8778875"/>
              <a:gd name="connsiteY2" fmla="*/ 6845300 h 7397055"/>
              <a:gd name="connsiteX3" fmla="*/ 0 w 8778875"/>
              <a:gd name="connsiteY3" fmla="*/ 6858000 h 7397055"/>
              <a:gd name="connsiteX4" fmla="*/ 0 w 8778875"/>
              <a:gd name="connsiteY4" fmla="*/ 0 h 7397055"/>
              <a:gd name="connsiteX0" fmla="*/ 0 w 8778875"/>
              <a:gd name="connsiteY0" fmla="*/ 0 h 7682694"/>
              <a:gd name="connsiteX1" fmla="*/ 8778875 w 8778875"/>
              <a:gd name="connsiteY1" fmla="*/ 0 h 7682694"/>
              <a:gd name="connsiteX2" fmla="*/ 3013075 w 8778875"/>
              <a:gd name="connsiteY2" fmla="*/ 6845300 h 7682694"/>
              <a:gd name="connsiteX3" fmla="*/ 0 w 8778875"/>
              <a:gd name="connsiteY3" fmla="*/ 6858000 h 7682694"/>
              <a:gd name="connsiteX4" fmla="*/ 0 w 8778875"/>
              <a:gd name="connsiteY4" fmla="*/ 0 h 7682694"/>
              <a:gd name="connsiteX0" fmla="*/ 0 w 8778875"/>
              <a:gd name="connsiteY0" fmla="*/ 0 h 7682694"/>
              <a:gd name="connsiteX1" fmla="*/ 8778875 w 8778875"/>
              <a:gd name="connsiteY1" fmla="*/ 0 h 7682694"/>
              <a:gd name="connsiteX2" fmla="*/ 3013075 w 8778875"/>
              <a:gd name="connsiteY2" fmla="*/ 6845300 h 7682694"/>
              <a:gd name="connsiteX3" fmla="*/ 0 w 8778875"/>
              <a:gd name="connsiteY3" fmla="*/ 6858000 h 7682694"/>
              <a:gd name="connsiteX4" fmla="*/ 0 w 8778875"/>
              <a:gd name="connsiteY4" fmla="*/ 0 h 7682694"/>
              <a:gd name="connsiteX0" fmla="*/ 0 w 8778875"/>
              <a:gd name="connsiteY0" fmla="*/ 0 h 7682694"/>
              <a:gd name="connsiteX1" fmla="*/ 8778875 w 8778875"/>
              <a:gd name="connsiteY1" fmla="*/ 0 h 7682694"/>
              <a:gd name="connsiteX2" fmla="*/ 3013075 w 8778875"/>
              <a:gd name="connsiteY2" fmla="*/ 6845300 h 7682694"/>
              <a:gd name="connsiteX3" fmla="*/ 0 w 8778875"/>
              <a:gd name="connsiteY3" fmla="*/ 6858000 h 7682694"/>
              <a:gd name="connsiteX4" fmla="*/ 0 w 8778875"/>
              <a:gd name="connsiteY4" fmla="*/ 0 h 7682694"/>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9071"/>
              <a:gd name="connsiteX1" fmla="*/ 8778875 w 8778875"/>
              <a:gd name="connsiteY1" fmla="*/ 0 h 7309071"/>
              <a:gd name="connsiteX2" fmla="*/ 3597275 w 8778875"/>
              <a:gd name="connsiteY2" fmla="*/ 5867400 h 7309071"/>
              <a:gd name="connsiteX3" fmla="*/ 0 w 8778875"/>
              <a:gd name="connsiteY3" fmla="*/ 6858000 h 7309071"/>
              <a:gd name="connsiteX4" fmla="*/ 0 w 8778875"/>
              <a:gd name="connsiteY4" fmla="*/ 0 h 7309071"/>
              <a:gd name="connsiteX0" fmla="*/ 0 w 8778875"/>
              <a:gd name="connsiteY0" fmla="*/ 0 h 7302727"/>
              <a:gd name="connsiteX1" fmla="*/ 8778875 w 8778875"/>
              <a:gd name="connsiteY1" fmla="*/ 0 h 7302727"/>
              <a:gd name="connsiteX2" fmla="*/ 3597275 w 8778875"/>
              <a:gd name="connsiteY2" fmla="*/ 5841207 h 7302727"/>
              <a:gd name="connsiteX3" fmla="*/ 0 w 8778875"/>
              <a:gd name="connsiteY3" fmla="*/ 6858000 h 7302727"/>
              <a:gd name="connsiteX4" fmla="*/ 0 w 8778875"/>
              <a:gd name="connsiteY4" fmla="*/ 0 h 7302727"/>
              <a:gd name="connsiteX0" fmla="*/ 0 w 8778875"/>
              <a:gd name="connsiteY0" fmla="*/ 0 h 7302727"/>
              <a:gd name="connsiteX1" fmla="*/ 8778875 w 8778875"/>
              <a:gd name="connsiteY1" fmla="*/ 0 h 7302727"/>
              <a:gd name="connsiteX2" fmla="*/ 3597275 w 8778875"/>
              <a:gd name="connsiteY2" fmla="*/ 5841207 h 7302727"/>
              <a:gd name="connsiteX3" fmla="*/ 0 w 8778875"/>
              <a:gd name="connsiteY3" fmla="*/ 6858000 h 7302727"/>
              <a:gd name="connsiteX4" fmla="*/ 0 w 8778875"/>
              <a:gd name="connsiteY4" fmla="*/ 0 h 7302727"/>
              <a:gd name="connsiteX0" fmla="*/ 0 w 8778875"/>
              <a:gd name="connsiteY0" fmla="*/ 0 h 7302727"/>
              <a:gd name="connsiteX1" fmla="*/ 8778875 w 8778875"/>
              <a:gd name="connsiteY1" fmla="*/ 0 h 7302727"/>
              <a:gd name="connsiteX2" fmla="*/ 3597275 w 8778875"/>
              <a:gd name="connsiteY2" fmla="*/ 5841207 h 7302727"/>
              <a:gd name="connsiteX3" fmla="*/ 0 w 8778875"/>
              <a:gd name="connsiteY3" fmla="*/ 6858000 h 7302727"/>
              <a:gd name="connsiteX4" fmla="*/ 0 w 8778875"/>
              <a:gd name="connsiteY4" fmla="*/ 0 h 7302727"/>
              <a:gd name="connsiteX0" fmla="*/ 0 w 8778875"/>
              <a:gd name="connsiteY0" fmla="*/ 0 h 7218666"/>
              <a:gd name="connsiteX1" fmla="*/ 8778875 w 8778875"/>
              <a:gd name="connsiteY1" fmla="*/ 0 h 7218666"/>
              <a:gd name="connsiteX2" fmla="*/ 3759200 w 8778875"/>
              <a:gd name="connsiteY2" fmla="*/ 5422107 h 7218666"/>
              <a:gd name="connsiteX3" fmla="*/ 0 w 8778875"/>
              <a:gd name="connsiteY3" fmla="*/ 6858000 h 7218666"/>
              <a:gd name="connsiteX4" fmla="*/ 0 w 8778875"/>
              <a:gd name="connsiteY4" fmla="*/ 0 h 7218666"/>
              <a:gd name="connsiteX0" fmla="*/ 0 w 8778875"/>
              <a:gd name="connsiteY0" fmla="*/ 0 h 7218666"/>
              <a:gd name="connsiteX1" fmla="*/ 8778875 w 8778875"/>
              <a:gd name="connsiteY1" fmla="*/ 0 h 7218666"/>
              <a:gd name="connsiteX2" fmla="*/ 3759200 w 8778875"/>
              <a:gd name="connsiteY2" fmla="*/ 5422107 h 7218666"/>
              <a:gd name="connsiteX3" fmla="*/ 0 w 8778875"/>
              <a:gd name="connsiteY3" fmla="*/ 6858000 h 7218666"/>
              <a:gd name="connsiteX4" fmla="*/ 0 w 8778875"/>
              <a:gd name="connsiteY4" fmla="*/ 0 h 7218666"/>
              <a:gd name="connsiteX0" fmla="*/ 0 w 8778875"/>
              <a:gd name="connsiteY0" fmla="*/ 0 h 7310952"/>
              <a:gd name="connsiteX1" fmla="*/ 8778875 w 8778875"/>
              <a:gd name="connsiteY1" fmla="*/ 0 h 7310952"/>
              <a:gd name="connsiteX2" fmla="*/ 3759200 w 8778875"/>
              <a:gd name="connsiteY2" fmla="*/ 5422107 h 7310952"/>
              <a:gd name="connsiteX3" fmla="*/ 0 w 8778875"/>
              <a:gd name="connsiteY3" fmla="*/ 6858000 h 7310952"/>
              <a:gd name="connsiteX4" fmla="*/ 0 w 8778875"/>
              <a:gd name="connsiteY4" fmla="*/ 0 h 7310952"/>
              <a:gd name="connsiteX0" fmla="*/ 0 w 8778875"/>
              <a:gd name="connsiteY0" fmla="*/ 0 h 7691482"/>
              <a:gd name="connsiteX1" fmla="*/ 8778875 w 8778875"/>
              <a:gd name="connsiteY1" fmla="*/ 0 h 7691482"/>
              <a:gd name="connsiteX2" fmla="*/ 3759200 w 8778875"/>
              <a:gd name="connsiteY2" fmla="*/ 5422107 h 7691482"/>
              <a:gd name="connsiteX3" fmla="*/ 0 w 8778875"/>
              <a:gd name="connsiteY3" fmla="*/ 6858000 h 7691482"/>
              <a:gd name="connsiteX4" fmla="*/ 0 w 8778875"/>
              <a:gd name="connsiteY4" fmla="*/ 0 h 7691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78875" h="7691482">
                <a:moveTo>
                  <a:pt x="0" y="0"/>
                </a:moveTo>
                <a:lnTo>
                  <a:pt x="8778875" y="0"/>
                </a:lnTo>
                <a:cubicBezTo>
                  <a:pt x="4802717" y="1545167"/>
                  <a:pt x="4337473" y="3778674"/>
                  <a:pt x="3759200" y="5422107"/>
                </a:cubicBezTo>
                <a:cubicBezTo>
                  <a:pt x="2735792" y="8553715"/>
                  <a:pt x="280458" y="7831667"/>
                  <a:pt x="0" y="6858000"/>
                </a:cubicBezTo>
                <a:lnTo>
                  <a:pt x="0" y="0"/>
                </a:lnTo>
                <a:close/>
              </a:path>
            </a:pathLst>
          </a:custGeom>
          <a:solidFill>
            <a:srgbClr val="0082C8">
              <a:alpha val="70000"/>
            </a:srgbClr>
          </a:solidFill>
        </p:spPr>
        <p:txBody>
          <a:bodyPr/>
          <a:lstStyle/>
          <a:p>
            <a:endParaRPr lang="en-IN"/>
          </a:p>
        </p:txBody>
      </p:sp>
      <p:pic>
        <p:nvPicPr>
          <p:cNvPr id="8" name="Picture 7" descr="A picture containing drawing&#10;&#10;Description automatically generated">
            <a:extLst>
              <a:ext uri="{FF2B5EF4-FFF2-40B4-BE49-F238E27FC236}">
                <a16:creationId xmlns:a16="http://schemas.microsoft.com/office/drawing/2014/main" id="{46BDC5D8-F4E8-48AB-88C0-792F3168CF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sp>
        <p:nvSpPr>
          <p:cNvPr id="9" name="Title 1">
            <a:extLst>
              <a:ext uri="{FF2B5EF4-FFF2-40B4-BE49-F238E27FC236}">
                <a16:creationId xmlns:a16="http://schemas.microsoft.com/office/drawing/2014/main" id="{515A4C2E-8EA1-4AFA-AF8B-C0FECD887CBB}"/>
              </a:ext>
            </a:extLst>
          </p:cNvPr>
          <p:cNvSpPr>
            <a:spLocks noGrp="1"/>
          </p:cNvSpPr>
          <p:nvPr>
            <p:ph type="title"/>
          </p:nvPr>
        </p:nvSpPr>
        <p:spPr>
          <a:xfrm>
            <a:off x="345139" y="228600"/>
            <a:ext cx="9220200" cy="561975"/>
          </a:xfrm>
          <a:prstGeom prst="rect">
            <a:avLst/>
          </a:prstGeom>
        </p:spPr>
        <p:txBody>
          <a:bodyPr anchor="t">
            <a:noAutofit/>
          </a:bodyPr>
          <a:lstStyle>
            <a:lvl1pPr>
              <a:defRPr lang="en-US" sz="3200" b="1" kern="1200" smtClean="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grpSp>
        <p:nvGrpSpPr>
          <p:cNvPr id="30" name="Group 29">
            <a:extLst>
              <a:ext uri="{FF2B5EF4-FFF2-40B4-BE49-F238E27FC236}">
                <a16:creationId xmlns:a16="http://schemas.microsoft.com/office/drawing/2014/main" id="{5D33FB9D-A02A-40B1-89E2-1B66B4588660}"/>
              </a:ext>
            </a:extLst>
          </p:cNvPr>
          <p:cNvGrpSpPr/>
          <p:nvPr userDrawn="1"/>
        </p:nvGrpSpPr>
        <p:grpSpPr>
          <a:xfrm>
            <a:off x="212726" y="6299200"/>
            <a:ext cx="1184275" cy="390526"/>
            <a:chOff x="212726" y="6299200"/>
            <a:chExt cx="1184275" cy="390526"/>
          </a:xfrm>
          <a:solidFill>
            <a:schemeClr val="bg1"/>
          </a:solidFill>
        </p:grpSpPr>
        <p:sp>
          <p:nvSpPr>
            <p:cNvPr id="31" name="Freeform 5">
              <a:extLst>
                <a:ext uri="{FF2B5EF4-FFF2-40B4-BE49-F238E27FC236}">
                  <a16:creationId xmlns:a16="http://schemas.microsoft.com/office/drawing/2014/main" id="{0228B4E8-D928-4FDC-9F4F-5AE012942CB4}"/>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1DA3AAF9-5B98-4E4D-8408-A6EB1B64F377}"/>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a:extLst>
                <a:ext uri="{FF2B5EF4-FFF2-40B4-BE49-F238E27FC236}">
                  <a16:creationId xmlns:a16="http://schemas.microsoft.com/office/drawing/2014/main" id="{0FA7D725-B117-4134-86B6-C6D78FF96761}"/>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a:extLst>
                <a:ext uri="{FF2B5EF4-FFF2-40B4-BE49-F238E27FC236}">
                  <a16:creationId xmlns:a16="http://schemas.microsoft.com/office/drawing/2014/main" id="{9EED619C-F6E4-47DA-92E5-F118B06E8A8E}"/>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97FF6B68-9496-4330-971C-17C683B68D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07C3C406-6B17-46D1-963F-4BBA20A7DC97}"/>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AF03EFEB-BEF0-4155-A999-15289EC7244D}"/>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
              <a:extLst>
                <a:ext uri="{FF2B5EF4-FFF2-40B4-BE49-F238E27FC236}">
                  <a16:creationId xmlns:a16="http://schemas.microsoft.com/office/drawing/2014/main" id="{16F3FB2F-C3DC-433F-AC2B-8CDD781E58A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
              <a:extLst>
                <a:ext uri="{FF2B5EF4-FFF2-40B4-BE49-F238E27FC236}">
                  <a16:creationId xmlns:a16="http://schemas.microsoft.com/office/drawing/2014/main" id="{3B67BF40-27D7-47BB-8E42-4961BF2E88C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
              <a:extLst>
                <a:ext uri="{FF2B5EF4-FFF2-40B4-BE49-F238E27FC236}">
                  <a16:creationId xmlns:a16="http://schemas.microsoft.com/office/drawing/2014/main" id="{BCCFF0EA-ABA5-4131-B7F9-12844973F96D}"/>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5">
              <a:extLst>
                <a:ext uri="{FF2B5EF4-FFF2-40B4-BE49-F238E27FC236}">
                  <a16:creationId xmlns:a16="http://schemas.microsoft.com/office/drawing/2014/main" id="{F17D7043-6CD1-461E-937E-7DF8ACBBD621}"/>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6">
              <a:extLst>
                <a:ext uri="{FF2B5EF4-FFF2-40B4-BE49-F238E27FC236}">
                  <a16:creationId xmlns:a16="http://schemas.microsoft.com/office/drawing/2014/main" id="{41BD96E8-D06B-4224-AF29-DBBA8E127E3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7">
              <a:extLst>
                <a:ext uri="{FF2B5EF4-FFF2-40B4-BE49-F238E27FC236}">
                  <a16:creationId xmlns:a16="http://schemas.microsoft.com/office/drawing/2014/main" id="{5C5675F2-0BBD-4BCC-84EF-F17C97BBE33C}"/>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8">
              <a:extLst>
                <a:ext uri="{FF2B5EF4-FFF2-40B4-BE49-F238E27FC236}">
                  <a16:creationId xmlns:a16="http://schemas.microsoft.com/office/drawing/2014/main" id="{DAB7976E-4C80-49F3-96EC-80F446C2FBE0}"/>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9">
              <a:extLst>
                <a:ext uri="{FF2B5EF4-FFF2-40B4-BE49-F238E27FC236}">
                  <a16:creationId xmlns:a16="http://schemas.microsoft.com/office/drawing/2014/main" id="{126CF67B-9FF8-4333-97F2-10097AEC4307}"/>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948178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eck Title 2">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1087691" y="2221309"/>
            <a:ext cx="5524500" cy="2415382"/>
          </a:xfrm>
          <a:prstGeom prst="rect">
            <a:avLst/>
          </a:prstGeom>
        </p:spPr>
        <p:txBody>
          <a:bodyPr anchor="ctr">
            <a:noAutofit/>
          </a:bodyPr>
          <a:lstStyle>
            <a:lvl1pPr>
              <a:defRPr sz="6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212726" y="6299200"/>
            <a:ext cx="1184275" cy="390526"/>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 name="Text Placeholder 2"/>
          <p:cNvSpPr>
            <a:spLocks noGrp="1"/>
          </p:cNvSpPr>
          <p:nvPr>
            <p:ph type="body" idx="1"/>
          </p:nvPr>
        </p:nvSpPr>
        <p:spPr>
          <a:xfrm>
            <a:off x="1109663" y="4713883"/>
            <a:ext cx="5502528" cy="744537"/>
          </a:xfrm>
          <a:prstGeom prst="rect">
            <a:avLst/>
          </a:prstGeom>
        </p:spPr>
        <p:txBody>
          <a:bodyPr>
            <a:normAutofit/>
          </a:bodyPr>
          <a:lstStyle>
            <a:lvl1pPr marL="0" indent="0">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20880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ck Title 2">
    <p:bg>
      <p:bgPr>
        <a:solidFill>
          <a:srgbClr val="E35A1D"/>
        </a:solidFill>
        <a:effectLst/>
      </p:bgPr>
    </p:bg>
    <p:spTree>
      <p:nvGrpSpPr>
        <p:cNvPr id="1" name=""/>
        <p:cNvGrpSpPr/>
        <p:nvPr/>
      </p:nvGrpSpPr>
      <p:grpSpPr>
        <a:xfrm>
          <a:off x="0" y="0"/>
          <a:ext cx="0" cy="0"/>
          <a:chOff x="0" y="0"/>
          <a:chExt cx="0" cy="0"/>
        </a:xfrm>
      </p:grpSpPr>
      <p:pic>
        <p:nvPicPr>
          <p:cNvPr id="10" name="Picture 9" descr="A picture containing drawing&#10;&#10;Description automatically generated">
            <a:extLst>
              <a:ext uri="{FF2B5EF4-FFF2-40B4-BE49-F238E27FC236}">
                <a16:creationId xmlns:a16="http://schemas.microsoft.com/office/drawing/2014/main" id="{BDFDEA3F-984D-4977-BCCC-8223A8B69E98}"/>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grpSp>
        <p:nvGrpSpPr>
          <p:cNvPr id="9" name="Group 8">
            <a:extLst>
              <a:ext uri="{FF2B5EF4-FFF2-40B4-BE49-F238E27FC236}">
                <a16:creationId xmlns:a16="http://schemas.microsoft.com/office/drawing/2014/main" id="{CABEDEB1-E9B2-4F29-859D-7A71BB3F6293}"/>
              </a:ext>
            </a:extLst>
          </p:cNvPr>
          <p:cNvGrpSpPr/>
          <p:nvPr userDrawn="1"/>
        </p:nvGrpSpPr>
        <p:grpSpPr>
          <a:xfrm>
            <a:off x="212726" y="6299200"/>
            <a:ext cx="1184275" cy="390526"/>
            <a:chOff x="212726" y="6299200"/>
            <a:chExt cx="1184275" cy="390526"/>
          </a:xfrm>
          <a:solidFill>
            <a:schemeClr val="bg1"/>
          </a:solidFill>
        </p:grpSpPr>
        <p:sp>
          <p:nvSpPr>
            <p:cNvPr id="11" name="Freeform 5">
              <a:extLst>
                <a:ext uri="{FF2B5EF4-FFF2-40B4-BE49-F238E27FC236}">
                  <a16:creationId xmlns:a16="http://schemas.microsoft.com/office/drawing/2014/main" id="{BE63A2B4-D392-4C67-B01D-E6ED5759DDC1}"/>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59295D9A-1368-4C51-9683-B79781C75242}"/>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B5699007-DACA-4E9F-AE46-BBF6A2BC7AFD}"/>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E187B960-0910-4A7B-8F4F-8004A3819D3D}"/>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E9DAE26F-F4B8-4768-BD43-9B92A6C42762}"/>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A123C23E-D29D-41C5-BC11-38A91865890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75F8955B-4C61-42AE-A2F6-3F84BF87034A}"/>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
              <a:extLst>
                <a:ext uri="{FF2B5EF4-FFF2-40B4-BE49-F238E27FC236}">
                  <a16:creationId xmlns:a16="http://schemas.microsoft.com/office/drawing/2014/main" id="{57F19D4D-E982-406B-B48B-6D233D09D1CA}"/>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
              <a:extLst>
                <a:ext uri="{FF2B5EF4-FFF2-40B4-BE49-F238E27FC236}">
                  <a16:creationId xmlns:a16="http://schemas.microsoft.com/office/drawing/2014/main" id="{66DDEE0A-D801-4568-A39E-4B8036D22087}"/>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58E69555-9A8E-4F63-A40E-FCA6F29BCF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5">
              <a:extLst>
                <a:ext uri="{FF2B5EF4-FFF2-40B4-BE49-F238E27FC236}">
                  <a16:creationId xmlns:a16="http://schemas.microsoft.com/office/drawing/2014/main" id="{E495206E-FACD-46EA-BE84-A01FA560288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6">
              <a:extLst>
                <a:ext uri="{FF2B5EF4-FFF2-40B4-BE49-F238E27FC236}">
                  <a16:creationId xmlns:a16="http://schemas.microsoft.com/office/drawing/2014/main" id="{551CF897-7141-4C13-9EDF-F48D206FD1E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7">
              <a:extLst>
                <a:ext uri="{FF2B5EF4-FFF2-40B4-BE49-F238E27FC236}">
                  <a16:creationId xmlns:a16="http://schemas.microsoft.com/office/drawing/2014/main" id="{A8140F8B-127B-4413-A70C-B8EADA205C42}"/>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8">
              <a:extLst>
                <a:ext uri="{FF2B5EF4-FFF2-40B4-BE49-F238E27FC236}">
                  <a16:creationId xmlns:a16="http://schemas.microsoft.com/office/drawing/2014/main" id="{6D3ED288-C895-426D-92A3-DFC16C8A7016}"/>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9">
              <a:extLst>
                <a:ext uri="{FF2B5EF4-FFF2-40B4-BE49-F238E27FC236}">
                  <a16:creationId xmlns:a16="http://schemas.microsoft.com/office/drawing/2014/main" id="{845621E8-C888-478E-8F67-C4E5301F6961}"/>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Title 1"/>
          <p:cNvSpPr>
            <a:spLocks noGrp="1"/>
          </p:cNvSpPr>
          <p:nvPr>
            <p:ph type="title" hasCustomPrompt="1"/>
          </p:nvPr>
        </p:nvSpPr>
        <p:spPr>
          <a:xfrm>
            <a:off x="1087691" y="2221309"/>
            <a:ext cx="5524500" cy="2415382"/>
          </a:xfrm>
          <a:prstGeom prst="rect">
            <a:avLst/>
          </a:prstGeom>
        </p:spPr>
        <p:txBody>
          <a:bodyPr anchor="ctr">
            <a:noAutofit/>
          </a:bodyPr>
          <a:lstStyle>
            <a:lvl1pPr>
              <a:defRPr sz="6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27" name="Text Placeholder 2"/>
          <p:cNvSpPr>
            <a:spLocks noGrp="1"/>
          </p:cNvSpPr>
          <p:nvPr>
            <p:ph type="body" idx="1"/>
          </p:nvPr>
        </p:nvSpPr>
        <p:spPr>
          <a:xfrm>
            <a:off x="1109663" y="4713883"/>
            <a:ext cx="5502528" cy="744537"/>
          </a:xfrm>
          <a:prstGeom prst="rect">
            <a:avLst/>
          </a:prstGeom>
        </p:spPr>
        <p:txBody>
          <a:bodyPr>
            <a:normAutofit/>
          </a:bodyPr>
          <a:lstStyle>
            <a:lvl1pPr marL="0" indent="0">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370806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6A35B37-C842-4852-980B-C663544714FE}"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8678266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ck Title 3">
    <p:bg>
      <p:bgPr>
        <a:solidFill>
          <a:srgbClr val="D50071"/>
        </a:solidFill>
        <a:effectLst/>
      </p:bgPr>
    </p:bg>
    <p:spTree>
      <p:nvGrpSpPr>
        <p:cNvPr id="1" name=""/>
        <p:cNvGrpSpPr/>
        <p:nvPr/>
      </p:nvGrpSpPr>
      <p:grpSpPr>
        <a:xfrm>
          <a:off x="0" y="0"/>
          <a:ext cx="0" cy="0"/>
          <a:chOff x="0" y="0"/>
          <a:chExt cx="0" cy="0"/>
        </a:xfrm>
      </p:grpSpPr>
      <p:sp>
        <p:nvSpPr>
          <p:cNvPr id="8" name="Text Placeholder 2"/>
          <p:cNvSpPr>
            <a:spLocks noGrp="1"/>
          </p:cNvSpPr>
          <p:nvPr>
            <p:ph type="body" idx="1"/>
          </p:nvPr>
        </p:nvSpPr>
        <p:spPr>
          <a:xfrm>
            <a:off x="1087691" y="4713883"/>
            <a:ext cx="5524500" cy="744537"/>
          </a:xfrm>
          <a:prstGeom prst="rect">
            <a:avLst/>
          </a:prstGeom>
        </p:spPr>
        <p:txBody>
          <a:bodyPr>
            <a:normAutofit/>
          </a:bodyPr>
          <a:lstStyle>
            <a:lvl1pPr marL="0" indent="0">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2" name="Picture Placeholder 2"/>
          <p:cNvSpPr>
            <a:spLocks noGrp="1"/>
          </p:cNvSpPr>
          <p:nvPr>
            <p:ph type="pic" idx="10"/>
          </p:nvPr>
        </p:nvSpPr>
        <p:spPr>
          <a:xfrm>
            <a:off x="7353300" y="0"/>
            <a:ext cx="4838700" cy="685799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pic>
        <p:nvPicPr>
          <p:cNvPr id="7" name="Picture 6" descr="A picture containing drawing&#10;&#10;Description automatically generated">
            <a:extLst>
              <a:ext uri="{FF2B5EF4-FFF2-40B4-BE49-F238E27FC236}">
                <a16:creationId xmlns:a16="http://schemas.microsoft.com/office/drawing/2014/main" id="{FD0D2DB1-1E03-48E3-9A37-6E251CBCCA66}"/>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260845" y="218889"/>
            <a:ext cx="1853706" cy="365124"/>
          </a:xfrm>
          <a:prstGeom prst="rect">
            <a:avLst/>
          </a:prstGeom>
        </p:spPr>
      </p:pic>
      <p:grpSp>
        <p:nvGrpSpPr>
          <p:cNvPr id="9" name="Group 8">
            <a:extLst>
              <a:ext uri="{FF2B5EF4-FFF2-40B4-BE49-F238E27FC236}">
                <a16:creationId xmlns:a16="http://schemas.microsoft.com/office/drawing/2014/main" id="{EF915EB4-1CD7-453A-8CF0-5EDE6FEF7955}"/>
              </a:ext>
            </a:extLst>
          </p:cNvPr>
          <p:cNvGrpSpPr/>
          <p:nvPr userDrawn="1"/>
        </p:nvGrpSpPr>
        <p:grpSpPr>
          <a:xfrm>
            <a:off x="212726" y="6299200"/>
            <a:ext cx="1184275" cy="390526"/>
            <a:chOff x="212726" y="6299200"/>
            <a:chExt cx="1184275" cy="390526"/>
          </a:xfrm>
          <a:solidFill>
            <a:schemeClr val="bg1"/>
          </a:solidFill>
        </p:grpSpPr>
        <p:sp>
          <p:nvSpPr>
            <p:cNvPr id="11" name="Freeform 5">
              <a:extLst>
                <a:ext uri="{FF2B5EF4-FFF2-40B4-BE49-F238E27FC236}">
                  <a16:creationId xmlns:a16="http://schemas.microsoft.com/office/drawing/2014/main" id="{14F1237A-985E-4FFA-87BA-98A098C8AD8D}"/>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a:extLst>
                <a:ext uri="{FF2B5EF4-FFF2-40B4-BE49-F238E27FC236}">
                  <a16:creationId xmlns:a16="http://schemas.microsoft.com/office/drawing/2014/main" id="{9DF56630-109B-4CE1-8D20-5916737FF5E7}"/>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a:extLst>
                <a:ext uri="{FF2B5EF4-FFF2-40B4-BE49-F238E27FC236}">
                  <a16:creationId xmlns:a16="http://schemas.microsoft.com/office/drawing/2014/main" id="{86367541-98F3-4CC7-BBD9-013ED9AFD43C}"/>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a:extLst>
                <a:ext uri="{FF2B5EF4-FFF2-40B4-BE49-F238E27FC236}">
                  <a16:creationId xmlns:a16="http://schemas.microsoft.com/office/drawing/2014/main" id="{5CF946A7-3574-483A-AE78-1C363D18D58A}"/>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a:extLst>
                <a:ext uri="{FF2B5EF4-FFF2-40B4-BE49-F238E27FC236}">
                  <a16:creationId xmlns:a16="http://schemas.microsoft.com/office/drawing/2014/main" id="{D5D67085-52A9-4832-B241-8FB3C95F42DD}"/>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a:extLst>
                <a:ext uri="{FF2B5EF4-FFF2-40B4-BE49-F238E27FC236}">
                  <a16:creationId xmlns:a16="http://schemas.microsoft.com/office/drawing/2014/main" id="{D8C533DD-B674-4E7F-A221-A4E81F0CE9EE}"/>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a:extLst>
                <a:ext uri="{FF2B5EF4-FFF2-40B4-BE49-F238E27FC236}">
                  <a16:creationId xmlns:a16="http://schemas.microsoft.com/office/drawing/2014/main" id="{A647C987-02A3-4C10-A161-8F34931292E6}"/>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a:extLst>
                <a:ext uri="{FF2B5EF4-FFF2-40B4-BE49-F238E27FC236}">
                  <a16:creationId xmlns:a16="http://schemas.microsoft.com/office/drawing/2014/main" id="{A4FA11F7-E95E-41D3-84AC-3CCC489A70FA}"/>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a:extLst>
                <a:ext uri="{FF2B5EF4-FFF2-40B4-BE49-F238E27FC236}">
                  <a16:creationId xmlns:a16="http://schemas.microsoft.com/office/drawing/2014/main" id="{A72008FF-A9D6-4650-BE18-24CE24D49602}"/>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a:extLst>
                <a:ext uri="{FF2B5EF4-FFF2-40B4-BE49-F238E27FC236}">
                  <a16:creationId xmlns:a16="http://schemas.microsoft.com/office/drawing/2014/main" id="{2A491E54-BF25-424F-80CA-B828DCB5A5D0}"/>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a:extLst>
                <a:ext uri="{FF2B5EF4-FFF2-40B4-BE49-F238E27FC236}">
                  <a16:creationId xmlns:a16="http://schemas.microsoft.com/office/drawing/2014/main" id="{82B18423-0B5B-4EC3-AE18-5170C143440E}"/>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a:extLst>
                <a:ext uri="{FF2B5EF4-FFF2-40B4-BE49-F238E27FC236}">
                  <a16:creationId xmlns:a16="http://schemas.microsoft.com/office/drawing/2014/main" id="{B5197605-B6DF-47AE-B7FF-C1869EBFE900}"/>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a:extLst>
                <a:ext uri="{FF2B5EF4-FFF2-40B4-BE49-F238E27FC236}">
                  <a16:creationId xmlns:a16="http://schemas.microsoft.com/office/drawing/2014/main" id="{0360884A-025D-422D-BB14-A92B8CA7295B}"/>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a:extLst>
                <a:ext uri="{FF2B5EF4-FFF2-40B4-BE49-F238E27FC236}">
                  <a16:creationId xmlns:a16="http://schemas.microsoft.com/office/drawing/2014/main" id="{16781571-9FC9-454A-8E2B-3F55D4C75ECB}"/>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a:extLst>
                <a:ext uri="{FF2B5EF4-FFF2-40B4-BE49-F238E27FC236}">
                  <a16:creationId xmlns:a16="http://schemas.microsoft.com/office/drawing/2014/main" id="{F6D9A78D-8B55-47DA-9178-9D88372E6D8C}"/>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 name="Title 1"/>
          <p:cNvSpPr>
            <a:spLocks noGrp="1"/>
          </p:cNvSpPr>
          <p:nvPr>
            <p:ph type="title" hasCustomPrompt="1"/>
          </p:nvPr>
        </p:nvSpPr>
        <p:spPr>
          <a:xfrm>
            <a:off x="1087691" y="2221309"/>
            <a:ext cx="5524500" cy="2415382"/>
          </a:xfrm>
          <a:prstGeom prst="rect">
            <a:avLst/>
          </a:prstGeom>
        </p:spPr>
        <p:txBody>
          <a:bodyPr anchor="ctr">
            <a:noAutofit/>
          </a:bodyPr>
          <a:lstStyle>
            <a:lvl1pPr>
              <a:defRPr sz="6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Tree>
    <p:extLst>
      <p:ext uri="{BB962C8B-B14F-4D97-AF65-F5344CB8AC3E}">
        <p14:creationId xmlns:p14="http://schemas.microsoft.com/office/powerpoint/2010/main" val="4191302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eck Title 3">
    <p:bg>
      <p:bgPr>
        <a:solidFill>
          <a:schemeClr val="bg1"/>
        </a:solidFill>
        <a:effectLst/>
      </p:bgPr>
    </p:bg>
    <p:spTree>
      <p:nvGrpSpPr>
        <p:cNvPr id="1" name=""/>
        <p:cNvGrpSpPr/>
        <p:nvPr/>
      </p:nvGrpSpPr>
      <p:grpSpPr>
        <a:xfrm>
          <a:off x="0" y="0"/>
          <a:ext cx="0" cy="0"/>
          <a:chOff x="0" y="0"/>
          <a:chExt cx="0" cy="0"/>
        </a:xfrm>
      </p:grpSpPr>
      <p:sp>
        <p:nvSpPr>
          <p:cNvPr id="12" name="Picture Placeholder 2"/>
          <p:cNvSpPr>
            <a:spLocks noGrp="1"/>
          </p:cNvSpPr>
          <p:nvPr>
            <p:ph type="pic" idx="10"/>
          </p:nvPr>
        </p:nvSpPr>
        <p:spPr>
          <a:xfrm>
            <a:off x="7353300" y="0"/>
            <a:ext cx="4838700" cy="685799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6" name="Title 1"/>
          <p:cNvSpPr>
            <a:spLocks noGrp="1"/>
          </p:cNvSpPr>
          <p:nvPr>
            <p:ph type="title" hasCustomPrompt="1"/>
          </p:nvPr>
        </p:nvSpPr>
        <p:spPr>
          <a:xfrm>
            <a:off x="782891" y="2209800"/>
            <a:ext cx="5524500" cy="2438400"/>
          </a:xfrm>
          <a:prstGeom prst="rect">
            <a:avLst/>
          </a:prstGeom>
        </p:spPr>
        <p:txBody>
          <a:bodyPr anchor="ctr">
            <a:noAutofit/>
          </a:bodyPr>
          <a:lstStyle>
            <a:lvl1pPr>
              <a:defRPr sz="6000" b="1">
                <a:solidFill>
                  <a:srgbClr val="0082C8"/>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8" name="Text Placeholder 2"/>
          <p:cNvSpPr>
            <a:spLocks noGrp="1"/>
          </p:cNvSpPr>
          <p:nvPr>
            <p:ph type="body" idx="1"/>
          </p:nvPr>
        </p:nvSpPr>
        <p:spPr>
          <a:xfrm>
            <a:off x="782891" y="4728857"/>
            <a:ext cx="5524500" cy="744537"/>
          </a:xfrm>
          <a:prstGeom prst="rect">
            <a:avLst/>
          </a:prstGeom>
        </p:spPr>
        <p:txBody>
          <a:bodyPr>
            <a:normAutofit/>
          </a:bodyPr>
          <a:lstStyle>
            <a:lvl1pPr marL="0" indent="0">
              <a:buNone/>
              <a:defRPr sz="32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Picture 9" descr="A picture containing drawing&#10;&#10;Description automatically generated">
            <a:extLst>
              <a:ext uri="{FF2B5EF4-FFF2-40B4-BE49-F238E27FC236}">
                <a16:creationId xmlns:a16="http://schemas.microsoft.com/office/drawing/2014/main" id="{04502C67-5BFC-4A39-98FA-D85032646C7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0845" y="218889"/>
            <a:ext cx="1853706" cy="365124"/>
          </a:xfrm>
          <a:prstGeom prst="rect">
            <a:avLst/>
          </a:prstGeom>
        </p:spPr>
      </p:pic>
      <p:pic>
        <p:nvPicPr>
          <p:cNvPr id="11" name="Picture 10">
            <a:extLst>
              <a:ext uri="{FF2B5EF4-FFF2-40B4-BE49-F238E27FC236}">
                <a16:creationId xmlns:a16="http://schemas.microsoft.com/office/drawing/2014/main" id="{285AB162-B9B5-4666-AF4B-4F19D776B34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36930" y="6332779"/>
            <a:ext cx="1067996" cy="343737"/>
          </a:xfrm>
          <a:prstGeom prst="rect">
            <a:avLst/>
          </a:prstGeom>
        </p:spPr>
      </p:pic>
      <p:pic>
        <p:nvPicPr>
          <p:cNvPr id="9" name="Picture 8">
            <a:extLst>
              <a:ext uri="{FF2B5EF4-FFF2-40B4-BE49-F238E27FC236}">
                <a16:creationId xmlns:a16="http://schemas.microsoft.com/office/drawing/2014/main" id="{21BAF733-0884-42AE-9BC0-1B76FCB4A18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20071" y="6298589"/>
            <a:ext cx="1175232" cy="376531"/>
          </a:xfrm>
          <a:prstGeom prst="rect">
            <a:avLst/>
          </a:prstGeom>
        </p:spPr>
      </p:pic>
    </p:spTree>
    <p:extLst>
      <p:ext uri="{BB962C8B-B14F-4D97-AF65-F5344CB8AC3E}">
        <p14:creationId xmlns:p14="http://schemas.microsoft.com/office/powerpoint/2010/main" val="9773267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Deck Title 3">
    <p:bg>
      <p:bgPr>
        <a:solidFill>
          <a:schemeClr val="bg1"/>
        </a:solidFill>
        <a:effectLst/>
      </p:bgPr>
    </p:bg>
    <p:spTree>
      <p:nvGrpSpPr>
        <p:cNvPr id="1" name=""/>
        <p:cNvGrpSpPr/>
        <p:nvPr/>
      </p:nvGrpSpPr>
      <p:grpSpPr>
        <a:xfrm>
          <a:off x="0" y="0"/>
          <a:ext cx="0" cy="0"/>
          <a:chOff x="0" y="0"/>
          <a:chExt cx="0" cy="0"/>
        </a:xfrm>
      </p:grpSpPr>
      <p:sp>
        <p:nvSpPr>
          <p:cNvPr id="12" name="Picture Placeholder 2"/>
          <p:cNvSpPr>
            <a:spLocks noGrp="1"/>
          </p:cNvSpPr>
          <p:nvPr>
            <p:ph type="pic" idx="10"/>
          </p:nvPr>
        </p:nvSpPr>
        <p:spPr>
          <a:xfrm>
            <a:off x="0" y="1"/>
            <a:ext cx="4838700" cy="6857999"/>
          </a:xfrm>
          <a:prstGeom prst="rect">
            <a:avLst/>
          </a:prstGeom>
        </p:spPr>
        <p:txBody>
          <a:bodyPr/>
          <a:lstStyle>
            <a:lvl1pPr marL="0" indent="0" algn="l">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8" name="Text Placeholder 2"/>
          <p:cNvSpPr>
            <a:spLocks noGrp="1"/>
          </p:cNvSpPr>
          <p:nvPr>
            <p:ph type="body" idx="1"/>
          </p:nvPr>
        </p:nvSpPr>
        <p:spPr>
          <a:xfrm>
            <a:off x="5208890" y="2321112"/>
            <a:ext cx="5654923" cy="744537"/>
          </a:xfrm>
          <a:prstGeom prst="rect">
            <a:avLst/>
          </a:prstGeom>
        </p:spPr>
        <p:txBody>
          <a:bodyPr>
            <a:normAutofit/>
          </a:bodyPr>
          <a:lstStyle>
            <a:lvl1pPr marL="0" indent="0">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Picture 9" descr="A picture containing drawing&#10;&#10;Description automatically generated">
            <a:extLst>
              <a:ext uri="{FF2B5EF4-FFF2-40B4-BE49-F238E27FC236}">
                <a16:creationId xmlns:a16="http://schemas.microsoft.com/office/drawing/2014/main" id="{04502C67-5BFC-4A39-98FA-D85032646C7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11" name="Picture 10">
            <a:extLst>
              <a:ext uri="{FF2B5EF4-FFF2-40B4-BE49-F238E27FC236}">
                <a16:creationId xmlns:a16="http://schemas.microsoft.com/office/drawing/2014/main" id="{285AB162-B9B5-4666-AF4B-4F19D776B34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36930" y="6332779"/>
            <a:ext cx="1067996" cy="343737"/>
          </a:xfrm>
          <a:prstGeom prst="rect">
            <a:avLst/>
          </a:prstGeom>
        </p:spPr>
      </p:pic>
      <p:sp>
        <p:nvSpPr>
          <p:cNvPr id="9" name="Title 1">
            <a:extLst>
              <a:ext uri="{FF2B5EF4-FFF2-40B4-BE49-F238E27FC236}">
                <a16:creationId xmlns:a16="http://schemas.microsoft.com/office/drawing/2014/main" id="{1174A1F3-4C18-4C0D-A889-F384F89E466E}"/>
              </a:ext>
            </a:extLst>
          </p:cNvPr>
          <p:cNvSpPr>
            <a:spLocks noGrp="1"/>
          </p:cNvSpPr>
          <p:nvPr>
            <p:ph type="title"/>
          </p:nvPr>
        </p:nvSpPr>
        <p:spPr>
          <a:xfrm>
            <a:off x="5208890" y="962025"/>
            <a:ext cx="5654923" cy="981075"/>
          </a:xfrm>
          <a:prstGeom prst="rect">
            <a:avLst/>
          </a:prstGeom>
        </p:spPr>
        <p:txBody>
          <a:bodyPr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13" name="Picture 12">
            <a:extLst>
              <a:ext uri="{FF2B5EF4-FFF2-40B4-BE49-F238E27FC236}">
                <a16:creationId xmlns:a16="http://schemas.microsoft.com/office/drawing/2014/main" id="{34AD444E-9FB1-415E-AAE2-030429DE2DF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779838" y="6298589"/>
            <a:ext cx="1175232" cy="376531"/>
          </a:xfrm>
          <a:prstGeom prst="rect">
            <a:avLst/>
          </a:prstGeom>
        </p:spPr>
      </p:pic>
    </p:spTree>
    <p:extLst>
      <p:ext uri="{BB962C8B-B14F-4D97-AF65-F5344CB8AC3E}">
        <p14:creationId xmlns:p14="http://schemas.microsoft.com/office/powerpoint/2010/main" val="510141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Client">
    <p:spTree>
      <p:nvGrpSpPr>
        <p:cNvPr id="1" name=""/>
        <p:cNvGrpSpPr/>
        <p:nvPr/>
      </p:nvGrpSpPr>
      <p:grpSpPr>
        <a:xfrm>
          <a:off x="0" y="0"/>
          <a:ext cx="0" cy="0"/>
          <a:chOff x="0" y="0"/>
          <a:chExt cx="0" cy="0"/>
        </a:xfrm>
      </p:grpSpPr>
      <p:sp>
        <p:nvSpPr>
          <p:cNvPr id="2" name="Rectangle 1"/>
          <p:cNvSpPr/>
          <p:nvPr userDrawn="1"/>
        </p:nvSpPr>
        <p:spPr>
          <a:xfrm>
            <a:off x="0" y="0"/>
            <a:ext cx="4539343" cy="6858000"/>
          </a:xfrm>
          <a:prstGeom prst="rect">
            <a:avLst/>
          </a:prstGeom>
          <a:solidFill>
            <a:srgbClr val="0082C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5" imgW="352" imgH="355" progId="TCLayout.ActiveDocument.1">
                  <p:embed/>
                </p:oleObj>
              </mc:Choice>
              <mc:Fallback>
                <p:oleObj name="think-cell Slide" r:id="rId5" imgW="352" imgH="355"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C4113C"/>
          </a:solidFill>
          <a:ln w="9525" cap="rnd" cmpd="sng" algn="ctr">
            <a:solidFill>
              <a:srgbClr val="C4113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8" name="Picture 7" descr="A picture containing drawing&#10;&#10;Description automatically generated">
            <a:extLst>
              <a:ext uri="{FF2B5EF4-FFF2-40B4-BE49-F238E27FC236}">
                <a16:creationId xmlns:a16="http://schemas.microsoft.com/office/drawing/2014/main" id="{CB5ED9F8-1CD0-43DE-98FE-0194393C0106}"/>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sp>
        <p:nvSpPr>
          <p:cNvPr id="9" name="Title 1">
            <a:extLst>
              <a:ext uri="{FF2B5EF4-FFF2-40B4-BE49-F238E27FC236}">
                <a16:creationId xmlns:a16="http://schemas.microsoft.com/office/drawing/2014/main" id="{ED33D206-7AC8-4EDD-ACEA-8E845714488F}"/>
              </a:ext>
            </a:extLst>
          </p:cNvPr>
          <p:cNvSpPr>
            <a:spLocks noGrp="1"/>
          </p:cNvSpPr>
          <p:nvPr>
            <p:ph type="title" hasCustomPrompt="1"/>
          </p:nvPr>
        </p:nvSpPr>
        <p:spPr>
          <a:xfrm>
            <a:off x="571500" y="2050277"/>
            <a:ext cx="3497066" cy="1325563"/>
          </a:xfrm>
          <a:prstGeom prst="rect">
            <a:avLst/>
          </a:prstGeom>
        </p:spPr>
        <p:txBody>
          <a:bodyPr anchor="ctr">
            <a:noAutofit/>
          </a:bodyPr>
          <a:lstStyle>
            <a:lvl1pPr algn="ctr">
              <a:defRPr sz="4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11" name="Text Placeholder 2">
            <a:extLst>
              <a:ext uri="{FF2B5EF4-FFF2-40B4-BE49-F238E27FC236}">
                <a16:creationId xmlns:a16="http://schemas.microsoft.com/office/drawing/2014/main" id="{F7CAE16A-CF5F-4A35-8406-487AAC5648F8}"/>
              </a:ext>
            </a:extLst>
          </p:cNvPr>
          <p:cNvSpPr>
            <a:spLocks noGrp="1"/>
          </p:cNvSpPr>
          <p:nvPr>
            <p:ph type="body" idx="1"/>
          </p:nvPr>
        </p:nvSpPr>
        <p:spPr>
          <a:xfrm>
            <a:off x="571501" y="4040524"/>
            <a:ext cx="3497066" cy="744537"/>
          </a:xfrm>
          <a:prstGeom prst="rect">
            <a:avLst/>
          </a:prstGeom>
        </p:spPr>
        <p:txBody>
          <a:bodyPr>
            <a:normAutofit/>
          </a:bodyPr>
          <a:lstStyle>
            <a:lvl1pPr marL="0" indent="0" algn="ctr">
              <a:buNone/>
              <a:defRPr sz="2800" b="1">
                <a:solidFill>
                  <a:schemeClr val="tx2">
                    <a:lumMod val="20000"/>
                    <a:lumOff val="8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12" name="Group 11">
            <a:extLst>
              <a:ext uri="{FF2B5EF4-FFF2-40B4-BE49-F238E27FC236}">
                <a16:creationId xmlns:a16="http://schemas.microsoft.com/office/drawing/2014/main" id="{00109636-84A8-418C-B1AC-FDC831FD090A}"/>
              </a:ext>
            </a:extLst>
          </p:cNvPr>
          <p:cNvGrpSpPr/>
          <p:nvPr userDrawn="1"/>
        </p:nvGrpSpPr>
        <p:grpSpPr>
          <a:xfrm>
            <a:off x="354045" y="6367462"/>
            <a:ext cx="977267" cy="322263"/>
            <a:chOff x="212726" y="6299200"/>
            <a:chExt cx="1184275" cy="390526"/>
          </a:xfrm>
          <a:solidFill>
            <a:schemeClr val="bg1"/>
          </a:solidFill>
        </p:grpSpPr>
        <p:sp>
          <p:nvSpPr>
            <p:cNvPr id="13" name="Freeform 5">
              <a:extLst>
                <a:ext uri="{FF2B5EF4-FFF2-40B4-BE49-F238E27FC236}">
                  <a16:creationId xmlns:a16="http://schemas.microsoft.com/office/drawing/2014/main" id="{A99ED730-C551-4BFA-8BE1-5014916F8114}"/>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2A4CDE45-0547-47EF-90F7-3DD377DDE5B2}"/>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A1041000-9FCB-4AF5-B7EB-887687DA74E2}"/>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023F2707-44E7-457C-A014-F8AF734EAD4E}"/>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a:extLst>
                <a:ext uri="{FF2B5EF4-FFF2-40B4-BE49-F238E27FC236}">
                  <a16:creationId xmlns:a16="http://schemas.microsoft.com/office/drawing/2014/main" id="{17A2AA50-A76E-4F88-B8C7-FB6E70A85E8C}"/>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a:extLst>
                <a:ext uri="{FF2B5EF4-FFF2-40B4-BE49-F238E27FC236}">
                  <a16:creationId xmlns:a16="http://schemas.microsoft.com/office/drawing/2014/main" id="{976F496E-CEE9-477C-97D8-FA3A5485A216}"/>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1">
              <a:extLst>
                <a:ext uri="{FF2B5EF4-FFF2-40B4-BE49-F238E27FC236}">
                  <a16:creationId xmlns:a16="http://schemas.microsoft.com/office/drawing/2014/main" id="{E9802CAD-A478-4BB4-9FFB-830FC47CA5AF}"/>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
              <a:extLst>
                <a:ext uri="{FF2B5EF4-FFF2-40B4-BE49-F238E27FC236}">
                  <a16:creationId xmlns:a16="http://schemas.microsoft.com/office/drawing/2014/main" id="{F6B9E5BA-185F-4AA4-BE10-B15020C2F979}"/>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3">
              <a:extLst>
                <a:ext uri="{FF2B5EF4-FFF2-40B4-BE49-F238E27FC236}">
                  <a16:creationId xmlns:a16="http://schemas.microsoft.com/office/drawing/2014/main" id="{0AF0DD89-90C7-4E9F-B167-9A13D50D4863}"/>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4">
              <a:extLst>
                <a:ext uri="{FF2B5EF4-FFF2-40B4-BE49-F238E27FC236}">
                  <a16:creationId xmlns:a16="http://schemas.microsoft.com/office/drawing/2014/main" id="{828B7F3A-3C2B-47AC-8960-0A311EAD8390}"/>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5">
              <a:extLst>
                <a:ext uri="{FF2B5EF4-FFF2-40B4-BE49-F238E27FC236}">
                  <a16:creationId xmlns:a16="http://schemas.microsoft.com/office/drawing/2014/main" id="{DA4E85D3-E5F4-4DF6-89AC-CC48635F74A6}"/>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6">
              <a:extLst>
                <a:ext uri="{FF2B5EF4-FFF2-40B4-BE49-F238E27FC236}">
                  <a16:creationId xmlns:a16="http://schemas.microsoft.com/office/drawing/2014/main" id="{5AAE2446-5732-4466-B7B0-0B4178A41A41}"/>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7">
              <a:extLst>
                <a:ext uri="{FF2B5EF4-FFF2-40B4-BE49-F238E27FC236}">
                  <a16:creationId xmlns:a16="http://schemas.microsoft.com/office/drawing/2014/main" id="{13D580ED-E79A-4061-8398-8ACB46C38D3A}"/>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8">
              <a:extLst>
                <a:ext uri="{FF2B5EF4-FFF2-40B4-BE49-F238E27FC236}">
                  <a16:creationId xmlns:a16="http://schemas.microsoft.com/office/drawing/2014/main" id="{CB30C4BB-A2F9-4479-A68E-D4F278BF5E91}"/>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9">
              <a:extLst>
                <a:ext uri="{FF2B5EF4-FFF2-40B4-BE49-F238E27FC236}">
                  <a16:creationId xmlns:a16="http://schemas.microsoft.com/office/drawing/2014/main" id="{BEB80029-7AD5-4998-BA7E-5E439A32FF40}"/>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200931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857997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5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54856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6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552150"/>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7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31665"/>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8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rgbClr val="EA00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701611"/>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0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81491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96A35B37-C842-4852-980B-C663544714FE}"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9019506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_Deck Title 2">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963FBA2-DFA5-4F42-8A01-7235A127BCFB}"/>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p:cNvSpPr>
            <a:spLocks noGrp="1"/>
          </p:cNvSpPr>
          <p:nvPr>
            <p:ph type="title" hasCustomPrompt="1"/>
          </p:nvPr>
        </p:nvSpPr>
        <p:spPr>
          <a:xfrm>
            <a:off x="0" y="2766219"/>
            <a:ext cx="12191999" cy="1325563"/>
          </a:xfrm>
          <a:prstGeom prst="rect">
            <a:avLst/>
          </a:prstGeom>
        </p:spPr>
        <p:txBody>
          <a:bodyPr anchor="ctr">
            <a:noAutofit/>
          </a:bodyPr>
          <a:lstStyle>
            <a:lvl1pPr algn="ctr">
              <a:defRPr sz="5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6A6C106C-9200-43B2-B6A5-48BD929E5425}"/>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3550749" y="5421848"/>
            <a:ext cx="2337851" cy="460486"/>
          </a:xfrm>
          <a:prstGeom prst="rect">
            <a:avLst/>
          </a:prstGeom>
        </p:spPr>
      </p:pic>
      <p:grpSp>
        <p:nvGrpSpPr>
          <p:cNvPr id="8" name="Group 7">
            <a:extLst>
              <a:ext uri="{FF2B5EF4-FFF2-40B4-BE49-F238E27FC236}">
                <a16:creationId xmlns:a16="http://schemas.microsoft.com/office/drawing/2014/main" id="{645C2525-FDD6-4BB9-9DFA-0F39F61F5001}"/>
              </a:ext>
            </a:extLst>
          </p:cNvPr>
          <p:cNvGrpSpPr/>
          <p:nvPr userDrawn="1"/>
        </p:nvGrpSpPr>
        <p:grpSpPr>
          <a:xfrm>
            <a:off x="6303401" y="5421848"/>
            <a:ext cx="1473519" cy="485907"/>
            <a:chOff x="212726" y="6299200"/>
            <a:chExt cx="1184275" cy="390526"/>
          </a:xfrm>
          <a:solidFill>
            <a:schemeClr val="bg1"/>
          </a:solidFill>
        </p:grpSpPr>
        <p:sp>
          <p:nvSpPr>
            <p:cNvPr id="9" name="Freeform 5">
              <a:extLst>
                <a:ext uri="{FF2B5EF4-FFF2-40B4-BE49-F238E27FC236}">
                  <a16:creationId xmlns:a16="http://schemas.microsoft.com/office/drawing/2014/main" id="{3BF41819-1E51-444D-A22F-CC2296160FE8}"/>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F5F9A2BA-99CB-4AFA-ACF8-8C5E67DC6B68}"/>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567C99DE-06F6-4F69-93B9-14FB3F2ACB7B}"/>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8">
              <a:extLst>
                <a:ext uri="{FF2B5EF4-FFF2-40B4-BE49-F238E27FC236}">
                  <a16:creationId xmlns:a16="http://schemas.microsoft.com/office/drawing/2014/main" id="{C1727576-4588-4597-87E0-762B4354C033}"/>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9">
              <a:extLst>
                <a:ext uri="{FF2B5EF4-FFF2-40B4-BE49-F238E27FC236}">
                  <a16:creationId xmlns:a16="http://schemas.microsoft.com/office/drawing/2014/main" id="{A76FC4E7-E8C1-48A5-8FE3-E30784CE7558}"/>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0">
              <a:extLst>
                <a:ext uri="{FF2B5EF4-FFF2-40B4-BE49-F238E27FC236}">
                  <a16:creationId xmlns:a16="http://schemas.microsoft.com/office/drawing/2014/main" id="{F91EFA5C-50D9-4CA4-8797-1E65F6E3A018}"/>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
              <a:extLst>
                <a:ext uri="{FF2B5EF4-FFF2-40B4-BE49-F238E27FC236}">
                  <a16:creationId xmlns:a16="http://schemas.microsoft.com/office/drawing/2014/main" id="{8D764D3F-6C85-4681-B18C-E86555E075A3}"/>
                </a:ext>
              </a:extLst>
            </p:cNvPr>
            <p:cNvSpPr>
              <a:spLocks noEditPoints="1"/>
            </p:cNvSpPr>
            <p:nvPr userDrawn="1"/>
          </p:nvSpPr>
          <p:spPr bwMode="auto">
            <a:xfrm>
              <a:off x="587376" y="6421438"/>
              <a:ext cx="166688" cy="173038"/>
            </a:xfrm>
            <a:custGeom>
              <a:avLst/>
              <a:gdLst>
                <a:gd name="T0" fmla="*/ 53 w 219"/>
                <a:gd name="T1" fmla="*/ 136 h 226"/>
                <a:gd name="T2" fmla="*/ 111 w 219"/>
                <a:gd name="T3" fmla="*/ 180 h 226"/>
                <a:gd name="T4" fmla="*/ 159 w 219"/>
                <a:gd name="T5" fmla="*/ 153 h 226"/>
                <a:gd name="T6" fmla="*/ 213 w 219"/>
                <a:gd name="T7" fmla="*/ 153 h 226"/>
                <a:gd name="T8" fmla="*/ 111 w 219"/>
                <a:gd name="T9" fmla="*/ 226 h 226"/>
                <a:gd name="T10" fmla="*/ 0 w 219"/>
                <a:gd name="T11" fmla="*/ 114 h 226"/>
                <a:gd name="T12" fmla="*/ 111 w 219"/>
                <a:gd name="T13" fmla="*/ 0 h 226"/>
                <a:gd name="T14" fmla="*/ 219 w 219"/>
                <a:gd name="T15" fmla="*/ 111 h 226"/>
                <a:gd name="T16" fmla="*/ 216 w 219"/>
                <a:gd name="T17" fmla="*/ 136 h 226"/>
                <a:gd name="T18" fmla="*/ 53 w 219"/>
                <a:gd name="T19" fmla="*/ 136 h 226"/>
                <a:gd name="T20" fmla="*/ 168 w 219"/>
                <a:gd name="T21" fmla="*/ 96 h 226"/>
                <a:gd name="T22" fmla="*/ 111 w 219"/>
                <a:gd name="T23" fmla="*/ 47 h 226"/>
                <a:gd name="T24" fmla="*/ 52 w 219"/>
                <a:gd name="T25" fmla="*/ 96 h 226"/>
                <a:gd name="T26" fmla="*/ 168 w 219"/>
                <a:gd name="T27" fmla="*/ 9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9" h="226">
                  <a:moveTo>
                    <a:pt x="53" y="136"/>
                  </a:moveTo>
                  <a:cubicBezTo>
                    <a:pt x="55" y="150"/>
                    <a:pt x="75" y="180"/>
                    <a:pt x="111" y="180"/>
                  </a:cubicBezTo>
                  <a:cubicBezTo>
                    <a:pt x="133" y="180"/>
                    <a:pt x="150" y="170"/>
                    <a:pt x="159" y="153"/>
                  </a:cubicBezTo>
                  <a:cubicBezTo>
                    <a:pt x="213" y="153"/>
                    <a:pt x="213" y="153"/>
                    <a:pt x="213" y="153"/>
                  </a:cubicBezTo>
                  <a:cubicBezTo>
                    <a:pt x="200" y="191"/>
                    <a:pt x="160" y="226"/>
                    <a:pt x="111" y="226"/>
                  </a:cubicBezTo>
                  <a:cubicBezTo>
                    <a:pt x="49" y="226"/>
                    <a:pt x="0" y="176"/>
                    <a:pt x="0" y="114"/>
                  </a:cubicBezTo>
                  <a:cubicBezTo>
                    <a:pt x="0" y="55"/>
                    <a:pt x="46" y="0"/>
                    <a:pt x="111" y="0"/>
                  </a:cubicBezTo>
                  <a:cubicBezTo>
                    <a:pt x="177" y="0"/>
                    <a:pt x="219" y="58"/>
                    <a:pt x="219" y="111"/>
                  </a:cubicBezTo>
                  <a:cubicBezTo>
                    <a:pt x="219" y="121"/>
                    <a:pt x="218" y="130"/>
                    <a:pt x="216" y="136"/>
                  </a:cubicBezTo>
                  <a:lnTo>
                    <a:pt x="53" y="136"/>
                  </a:lnTo>
                  <a:close/>
                  <a:moveTo>
                    <a:pt x="168" y="96"/>
                  </a:moveTo>
                  <a:cubicBezTo>
                    <a:pt x="162" y="62"/>
                    <a:pt x="136" y="47"/>
                    <a:pt x="111" y="47"/>
                  </a:cubicBezTo>
                  <a:cubicBezTo>
                    <a:pt x="92" y="47"/>
                    <a:pt x="61" y="57"/>
                    <a:pt x="52" y="96"/>
                  </a:cubicBezTo>
                  <a:lnTo>
                    <a:pt x="168"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2">
              <a:extLst>
                <a:ext uri="{FF2B5EF4-FFF2-40B4-BE49-F238E27FC236}">
                  <a16:creationId xmlns:a16="http://schemas.microsoft.com/office/drawing/2014/main" id="{FAA64796-A0ED-4906-AED4-463B4B184723}"/>
                </a:ext>
              </a:extLst>
            </p:cNvPr>
            <p:cNvSpPr>
              <a:spLocks/>
            </p:cNvSpPr>
            <p:nvPr userDrawn="1"/>
          </p:nvSpPr>
          <p:spPr bwMode="auto">
            <a:xfrm>
              <a:off x="763588"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3">
              <a:extLst>
                <a:ext uri="{FF2B5EF4-FFF2-40B4-BE49-F238E27FC236}">
                  <a16:creationId xmlns:a16="http://schemas.microsoft.com/office/drawing/2014/main" id="{C5272776-BA1E-495B-867F-D85AE18230D9}"/>
                </a:ext>
              </a:extLst>
            </p:cNvPr>
            <p:cNvSpPr>
              <a:spLocks/>
            </p:cNvSpPr>
            <p:nvPr userDrawn="1"/>
          </p:nvSpPr>
          <p:spPr bwMode="auto">
            <a:xfrm>
              <a:off x="849313" y="6423025"/>
              <a:ext cx="74613" cy="166688"/>
            </a:xfrm>
            <a:custGeom>
              <a:avLst/>
              <a:gdLst>
                <a:gd name="T0" fmla="*/ 0 w 97"/>
                <a:gd name="T1" fmla="*/ 7 h 217"/>
                <a:gd name="T2" fmla="*/ 47 w 97"/>
                <a:gd name="T3" fmla="*/ 7 h 217"/>
                <a:gd name="T4" fmla="*/ 47 w 97"/>
                <a:gd name="T5" fmla="*/ 25 h 217"/>
                <a:gd name="T6" fmla="*/ 47 w 97"/>
                <a:gd name="T7" fmla="*/ 25 h 217"/>
                <a:gd name="T8" fmla="*/ 92 w 97"/>
                <a:gd name="T9" fmla="*/ 0 h 217"/>
                <a:gd name="T10" fmla="*/ 97 w 97"/>
                <a:gd name="T11" fmla="*/ 0 h 217"/>
                <a:gd name="T12" fmla="*/ 97 w 97"/>
                <a:gd name="T13" fmla="*/ 48 h 217"/>
                <a:gd name="T14" fmla="*/ 51 w 97"/>
                <a:gd name="T15" fmla="*/ 99 h 217"/>
                <a:gd name="T16" fmla="*/ 51 w 97"/>
                <a:gd name="T17" fmla="*/ 217 h 217"/>
                <a:gd name="T18" fmla="*/ 0 w 97"/>
                <a:gd name="T19" fmla="*/ 217 h 217"/>
                <a:gd name="T20" fmla="*/ 0 w 97"/>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217">
                  <a:moveTo>
                    <a:pt x="0" y="7"/>
                  </a:moveTo>
                  <a:cubicBezTo>
                    <a:pt x="47" y="7"/>
                    <a:pt x="47" y="7"/>
                    <a:pt x="47" y="7"/>
                  </a:cubicBezTo>
                  <a:cubicBezTo>
                    <a:pt x="47" y="25"/>
                    <a:pt x="47" y="25"/>
                    <a:pt x="47" y="25"/>
                  </a:cubicBezTo>
                  <a:cubicBezTo>
                    <a:pt x="47" y="25"/>
                    <a:pt x="47" y="25"/>
                    <a:pt x="47" y="25"/>
                  </a:cubicBezTo>
                  <a:cubicBezTo>
                    <a:pt x="57" y="12"/>
                    <a:pt x="66" y="0"/>
                    <a:pt x="92" y="0"/>
                  </a:cubicBezTo>
                  <a:cubicBezTo>
                    <a:pt x="97" y="0"/>
                    <a:pt x="97" y="0"/>
                    <a:pt x="97" y="0"/>
                  </a:cubicBezTo>
                  <a:cubicBezTo>
                    <a:pt x="97" y="48"/>
                    <a:pt x="97" y="48"/>
                    <a:pt x="97" y="48"/>
                  </a:cubicBezTo>
                  <a:cubicBezTo>
                    <a:pt x="51" y="50"/>
                    <a:pt x="51" y="86"/>
                    <a:pt x="51" y="99"/>
                  </a:cubicBezTo>
                  <a:cubicBezTo>
                    <a:pt x="51" y="217"/>
                    <a:pt x="51" y="217"/>
                    <a:pt x="51"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4">
              <a:extLst>
                <a:ext uri="{FF2B5EF4-FFF2-40B4-BE49-F238E27FC236}">
                  <a16:creationId xmlns:a16="http://schemas.microsoft.com/office/drawing/2014/main" id="{444B34C8-32E9-44F8-8D63-19C640B96CDF}"/>
                </a:ext>
              </a:extLst>
            </p:cNvPr>
            <p:cNvSpPr>
              <a:spLocks noEditPoints="1"/>
            </p:cNvSpPr>
            <p:nvPr userDrawn="1"/>
          </p:nvSpPr>
          <p:spPr bwMode="auto">
            <a:xfrm>
              <a:off x="920751" y="6423025"/>
              <a:ext cx="169863" cy="171450"/>
            </a:xfrm>
            <a:custGeom>
              <a:avLst/>
              <a:gdLst>
                <a:gd name="T0" fmla="*/ 222 w 222"/>
                <a:gd name="T1" fmla="*/ 217 h 224"/>
                <a:gd name="T2" fmla="*/ 175 w 222"/>
                <a:gd name="T3" fmla="*/ 217 h 224"/>
                <a:gd name="T4" fmla="*/ 175 w 222"/>
                <a:gd name="T5" fmla="*/ 191 h 224"/>
                <a:gd name="T6" fmla="*/ 102 w 222"/>
                <a:gd name="T7" fmla="*/ 224 h 224"/>
                <a:gd name="T8" fmla="*/ 0 w 222"/>
                <a:gd name="T9" fmla="*/ 111 h 224"/>
                <a:gd name="T10" fmla="*/ 105 w 222"/>
                <a:gd name="T11" fmla="*/ 0 h 224"/>
                <a:gd name="T12" fmla="*/ 175 w 222"/>
                <a:gd name="T13" fmla="*/ 33 h 224"/>
                <a:gd name="T14" fmla="*/ 175 w 222"/>
                <a:gd name="T15" fmla="*/ 33 h 224"/>
                <a:gd name="T16" fmla="*/ 175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5" y="217"/>
                    <a:pt x="175" y="217"/>
                    <a:pt x="175" y="217"/>
                  </a:cubicBezTo>
                  <a:cubicBezTo>
                    <a:pt x="175" y="191"/>
                    <a:pt x="175" y="191"/>
                    <a:pt x="175" y="191"/>
                  </a:cubicBezTo>
                  <a:cubicBezTo>
                    <a:pt x="159" y="210"/>
                    <a:pt x="128" y="224"/>
                    <a:pt x="102" y="224"/>
                  </a:cubicBezTo>
                  <a:cubicBezTo>
                    <a:pt x="48" y="224"/>
                    <a:pt x="0" y="181"/>
                    <a:pt x="0" y="111"/>
                  </a:cubicBezTo>
                  <a:cubicBezTo>
                    <a:pt x="0" y="46"/>
                    <a:pt x="47" y="0"/>
                    <a:pt x="105" y="0"/>
                  </a:cubicBezTo>
                  <a:cubicBezTo>
                    <a:pt x="148" y="0"/>
                    <a:pt x="173" y="30"/>
                    <a:pt x="175" y="33"/>
                  </a:cubicBezTo>
                  <a:cubicBezTo>
                    <a:pt x="175" y="33"/>
                    <a:pt x="175" y="33"/>
                    <a:pt x="175" y="33"/>
                  </a:cubicBezTo>
                  <a:cubicBezTo>
                    <a:pt x="175" y="7"/>
                    <a:pt x="175" y="7"/>
                    <a:pt x="175" y="7"/>
                  </a:cubicBezTo>
                  <a:cubicBezTo>
                    <a:pt x="222" y="7"/>
                    <a:pt x="222" y="7"/>
                    <a:pt x="222" y="7"/>
                  </a:cubicBezTo>
                  <a:lnTo>
                    <a:pt x="222" y="217"/>
                  </a:lnTo>
                  <a:close/>
                  <a:moveTo>
                    <a:pt x="113" y="46"/>
                  </a:moveTo>
                  <a:cubicBezTo>
                    <a:pt x="71" y="46"/>
                    <a:pt x="50" y="81"/>
                    <a:pt x="50" y="113"/>
                  </a:cubicBezTo>
                  <a:cubicBezTo>
                    <a:pt x="50" y="148"/>
                    <a:pt x="77" y="178"/>
                    <a:pt x="113" y="178"/>
                  </a:cubicBezTo>
                  <a:cubicBezTo>
                    <a:pt x="147" y="178"/>
                    <a:pt x="174" y="150"/>
                    <a:pt x="174" y="111"/>
                  </a:cubicBezTo>
                  <a:cubicBezTo>
                    <a:pt x="174" y="68"/>
                    <a:pt x="142"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5">
              <a:extLst>
                <a:ext uri="{FF2B5EF4-FFF2-40B4-BE49-F238E27FC236}">
                  <a16:creationId xmlns:a16="http://schemas.microsoft.com/office/drawing/2014/main" id="{BCAB122F-DFE6-4A9B-A6A5-CC5F70740BA3}"/>
                </a:ext>
              </a:extLst>
            </p:cNvPr>
            <p:cNvSpPr>
              <a:spLocks/>
            </p:cNvSpPr>
            <p:nvPr userDrawn="1"/>
          </p:nvSpPr>
          <p:spPr bwMode="auto">
            <a:xfrm>
              <a:off x="1109663" y="6423025"/>
              <a:ext cx="73025" cy="166688"/>
            </a:xfrm>
            <a:custGeom>
              <a:avLst/>
              <a:gdLst>
                <a:gd name="T0" fmla="*/ 0 w 96"/>
                <a:gd name="T1" fmla="*/ 7 h 217"/>
                <a:gd name="T2" fmla="*/ 46 w 96"/>
                <a:gd name="T3" fmla="*/ 7 h 217"/>
                <a:gd name="T4" fmla="*/ 46 w 96"/>
                <a:gd name="T5" fmla="*/ 25 h 217"/>
                <a:gd name="T6" fmla="*/ 47 w 96"/>
                <a:gd name="T7" fmla="*/ 25 h 217"/>
                <a:gd name="T8" fmla="*/ 92 w 96"/>
                <a:gd name="T9" fmla="*/ 0 h 217"/>
                <a:gd name="T10" fmla="*/ 96 w 96"/>
                <a:gd name="T11" fmla="*/ 0 h 217"/>
                <a:gd name="T12" fmla="*/ 96 w 96"/>
                <a:gd name="T13" fmla="*/ 48 h 217"/>
                <a:gd name="T14" fmla="*/ 50 w 96"/>
                <a:gd name="T15" fmla="*/ 99 h 217"/>
                <a:gd name="T16" fmla="*/ 50 w 96"/>
                <a:gd name="T17" fmla="*/ 217 h 217"/>
                <a:gd name="T18" fmla="*/ 0 w 96"/>
                <a:gd name="T19" fmla="*/ 217 h 217"/>
                <a:gd name="T20" fmla="*/ 0 w 96"/>
                <a:gd name="T21" fmla="*/ 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217">
                  <a:moveTo>
                    <a:pt x="0" y="7"/>
                  </a:moveTo>
                  <a:cubicBezTo>
                    <a:pt x="46" y="7"/>
                    <a:pt x="46" y="7"/>
                    <a:pt x="46" y="7"/>
                  </a:cubicBezTo>
                  <a:cubicBezTo>
                    <a:pt x="46" y="25"/>
                    <a:pt x="46" y="25"/>
                    <a:pt x="46" y="25"/>
                  </a:cubicBezTo>
                  <a:cubicBezTo>
                    <a:pt x="47" y="25"/>
                    <a:pt x="47" y="25"/>
                    <a:pt x="47" y="25"/>
                  </a:cubicBezTo>
                  <a:cubicBezTo>
                    <a:pt x="56" y="12"/>
                    <a:pt x="66" y="0"/>
                    <a:pt x="92" y="0"/>
                  </a:cubicBezTo>
                  <a:cubicBezTo>
                    <a:pt x="96" y="0"/>
                    <a:pt x="96" y="0"/>
                    <a:pt x="96" y="0"/>
                  </a:cubicBezTo>
                  <a:cubicBezTo>
                    <a:pt x="96" y="48"/>
                    <a:pt x="96" y="48"/>
                    <a:pt x="96" y="48"/>
                  </a:cubicBezTo>
                  <a:cubicBezTo>
                    <a:pt x="50" y="50"/>
                    <a:pt x="50" y="86"/>
                    <a:pt x="50" y="99"/>
                  </a:cubicBezTo>
                  <a:cubicBezTo>
                    <a:pt x="50" y="217"/>
                    <a:pt x="50" y="217"/>
                    <a:pt x="50" y="217"/>
                  </a:cubicBezTo>
                  <a:cubicBezTo>
                    <a:pt x="0" y="217"/>
                    <a:pt x="0" y="217"/>
                    <a:pt x="0" y="217"/>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6">
              <a:extLst>
                <a:ext uri="{FF2B5EF4-FFF2-40B4-BE49-F238E27FC236}">
                  <a16:creationId xmlns:a16="http://schemas.microsoft.com/office/drawing/2014/main" id="{45A74CDD-D13F-4C92-86F6-713C9F872342}"/>
                </a:ext>
              </a:extLst>
            </p:cNvPr>
            <p:cNvSpPr>
              <a:spLocks noEditPoints="1"/>
            </p:cNvSpPr>
            <p:nvPr userDrawn="1"/>
          </p:nvSpPr>
          <p:spPr bwMode="auto">
            <a:xfrm>
              <a:off x="1185863" y="6423025"/>
              <a:ext cx="169863" cy="171450"/>
            </a:xfrm>
            <a:custGeom>
              <a:avLst/>
              <a:gdLst>
                <a:gd name="T0" fmla="*/ 222 w 222"/>
                <a:gd name="T1" fmla="*/ 217 h 224"/>
                <a:gd name="T2" fmla="*/ 176 w 222"/>
                <a:gd name="T3" fmla="*/ 217 h 224"/>
                <a:gd name="T4" fmla="*/ 176 w 222"/>
                <a:gd name="T5" fmla="*/ 191 h 224"/>
                <a:gd name="T6" fmla="*/ 102 w 222"/>
                <a:gd name="T7" fmla="*/ 224 h 224"/>
                <a:gd name="T8" fmla="*/ 0 w 222"/>
                <a:gd name="T9" fmla="*/ 111 h 224"/>
                <a:gd name="T10" fmla="*/ 105 w 222"/>
                <a:gd name="T11" fmla="*/ 0 h 224"/>
                <a:gd name="T12" fmla="*/ 175 w 222"/>
                <a:gd name="T13" fmla="*/ 33 h 224"/>
                <a:gd name="T14" fmla="*/ 176 w 222"/>
                <a:gd name="T15" fmla="*/ 33 h 224"/>
                <a:gd name="T16" fmla="*/ 176 w 222"/>
                <a:gd name="T17" fmla="*/ 7 h 224"/>
                <a:gd name="T18" fmla="*/ 222 w 222"/>
                <a:gd name="T19" fmla="*/ 7 h 224"/>
                <a:gd name="T20" fmla="*/ 222 w 222"/>
                <a:gd name="T21" fmla="*/ 217 h 224"/>
                <a:gd name="T22" fmla="*/ 113 w 222"/>
                <a:gd name="T23" fmla="*/ 46 h 224"/>
                <a:gd name="T24" fmla="*/ 50 w 222"/>
                <a:gd name="T25" fmla="*/ 113 h 224"/>
                <a:gd name="T26" fmla="*/ 113 w 222"/>
                <a:gd name="T27" fmla="*/ 178 h 224"/>
                <a:gd name="T28" fmla="*/ 174 w 222"/>
                <a:gd name="T29" fmla="*/ 111 h 224"/>
                <a:gd name="T30" fmla="*/ 113 w 222"/>
                <a:gd name="T31" fmla="*/ 4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224">
                  <a:moveTo>
                    <a:pt x="222" y="217"/>
                  </a:moveTo>
                  <a:cubicBezTo>
                    <a:pt x="176" y="217"/>
                    <a:pt x="176" y="217"/>
                    <a:pt x="176" y="217"/>
                  </a:cubicBezTo>
                  <a:cubicBezTo>
                    <a:pt x="176" y="191"/>
                    <a:pt x="176" y="191"/>
                    <a:pt x="176" y="191"/>
                  </a:cubicBezTo>
                  <a:cubicBezTo>
                    <a:pt x="160" y="210"/>
                    <a:pt x="129" y="224"/>
                    <a:pt x="102" y="224"/>
                  </a:cubicBezTo>
                  <a:cubicBezTo>
                    <a:pt x="48" y="224"/>
                    <a:pt x="0" y="181"/>
                    <a:pt x="0" y="111"/>
                  </a:cubicBezTo>
                  <a:cubicBezTo>
                    <a:pt x="0" y="46"/>
                    <a:pt x="47" y="0"/>
                    <a:pt x="105" y="0"/>
                  </a:cubicBezTo>
                  <a:cubicBezTo>
                    <a:pt x="148" y="0"/>
                    <a:pt x="173" y="30"/>
                    <a:pt x="175" y="33"/>
                  </a:cubicBezTo>
                  <a:cubicBezTo>
                    <a:pt x="176" y="33"/>
                    <a:pt x="176" y="33"/>
                    <a:pt x="176" y="33"/>
                  </a:cubicBezTo>
                  <a:cubicBezTo>
                    <a:pt x="176" y="7"/>
                    <a:pt x="176" y="7"/>
                    <a:pt x="176" y="7"/>
                  </a:cubicBezTo>
                  <a:cubicBezTo>
                    <a:pt x="222" y="7"/>
                    <a:pt x="222" y="7"/>
                    <a:pt x="222" y="7"/>
                  </a:cubicBezTo>
                  <a:lnTo>
                    <a:pt x="222" y="217"/>
                  </a:lnTo>
                  <a:close/>
                  <a:moveTo>
                    <a:pt x="113" y="46"/>
                  </a:moveTo>
                  <a:cubicBezTo>
                    <a:pt x="72" y="46"/>
                    <a:pt x="50" y="81"/>
                    <a:pt x="50" y="113"/>
                  </a:cubicBezTo>
                  <a:cubicBezTo>
                    <a:pt x="50" y="148"/>
                    <a:pt x="77" y="178"/>
                    <a:pt x="113" y="178"/>
                  </a:cubicBezTo>
                  <a:cubicBezTo>
                    <a:pt x="148" y="178"/>
                    <a:pt x="174" y="150"/>
                    <a:pt x="174" y="111"/>
                  </a:cubicBezTo>
                  <a:cubicBezTo>
                    <a:pt x="174" y="68"/>
                    <a:pt x="143" y="46"/>
                    <a:pt x="11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2A32AB0A-8153-4E3E-9164-FFFEA4C71B6D}"/>
                </a:ext>
              </a:extLst>
            </p:cNvPr>
            <p:cNvSpPr>
              <a:spLocks/>
            </p:cNvSpPr>
            <p:nvPr userDrawn="1"/>
          </p:nvSpPr>
          <p:spPr bwMode="auto">
            <a:xfrm>
              <a:off x="212726" y="6367463"/>
              <a:ext cx="398463" cy="322263"/>
            </a:xfrm>
            <a:custGeom>
              <a:avLst/>
              <a:gdLst>
                <a:gd name="T0" fmla="*/ 509 w 522"/>
                <a:gd name="T1" fmla="*/ 0 h 421"/>
                <a:gd name="T2" fmla="*/ 317 w 522"/>
                <a:gd name="T3" fmla="*/ 146 h 421"/>
                <a:gd name="T4" fmla="*/ 246 w 522"/>
                <a:gd name="T5" fmla="*/ 141 h 421"/>
                <a:gd name="T6" fmla="*/ 242 w 522"/>
                <a:gd name="T7" fmla="*/ 158 h 421"/>
                <a:gd name="T8" fmla="*/ 284 w 522"/>
                <a:gd name="T9" fmla="*/ 197 h 421"/>
                <a:gd name="T10" fmla="*/ 167 w 522"/>
                <a:gd name="T11" fmla="*/ 358 h 421"/>
                <a:gd name="T12" fmla="*/ 106 w 522"/>
                <a:gd name="T13" fmla="*/ 364 h 421"/>
                <a:gd name="T14" fmla="*/ 66 w 522"/>
                <a:gd name="T15" fmla="*/ 303 h 421"/>
                <a:gd name="T16" fmla="*/ 92 w 522"/>
                <a:gd name="T17" fmla="*/ 241 h 421"/>
                <a:gd name="T18" fmla="*/ 95 w 522"/>
                <a:gd name="T19" fmla="*/ 229 h 421"/>
                <a:gd name="T20" fmla="*/ 86 w 522"/>
                <a:gd name="T21" fmla="*/ 225 h 421"/>
                <a:gd name="T22" fmla="*/ 32 w 522"/>
                <a:gd name="T23" fmla="*/ 249 h 421"/>
                <a:gd name="T24" fmla="*/ 11 w 522"/>
                <a:gd name="T25" fmla="*/ 288 h 421"/>
                <a:gd name="T26" fmla="*/ 80 w 522"/>
                <a:gd name="T27" fmla="*/ 400 h 421"/>
                <a:gd name="T28" fmla="*/ 221 w 522"/>
                <a:gd name="T29" fmla="*/ 365 h 421"/>
                <a:gd name="T30" fmla="*/ 367 w 522"/>
                <a:gd name="T31" fmla="*/ 188 h 421"/>
                <a:gd name="T32" fmla="*/ 467 w 522"/>
                <a:gd name="T33" fmla="*/ 181 h 421"/>
                <a:gd name="T34" fmla="*/ 475 w 522"/>
                <a:gd name="T35" fmla="*/ 164 h 421"/>
                <a:gd name="T36" fmla="*/ 404 w 522"/>
                <a:gd name="T37" fmla="*/ 133 h 421"/>
                <a:gd name="T38" fmla="*/ 418 w 522"/>
                <a:gd name="T39" fmla="*/ 113 h 421"/>
                <a:gd name="T40" fmla="*/ 513 w 522"/>
                <a:gd name="T41" fmla="*/ 18 h 421"/>
                <a:gd name="T42" fmla="*/ 520 w 522"/>
                <a:gd name="T43" fmla="*/ 5 h 421"/>
                <a:gd name="T44" fmla="*/ 509 w 522"/>
                <a:gd name="T45" fmla="*/ 0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2" h="421">
                  <a:moveTo>
                    <a:pt x="509" y="0"/>
                  </a:moveTo>
                  <a:cubicBezTo>
                    <a:pt x="488" y="0"/>
                    <a:pt x="411" y="9"/>
                    <a:pt x="317" y="146"/>
                  </a:cubicBezTo>
                  <a:cubicBezTo>
                    <a:pt x="289" y="150"/>
                    <a:pt x="263" y="152"/>
                    <a:pt x="246" y="141"/>
                  </a:cubicBezTo>
                  <a:cubicBezTo>
                    <a:pt x="239" y="136"/>
                    <a:pt x="239" y="149"/>
                    <a:pt x="242" y="158"/>
                  </a:cubicBezTo>
                  <a:cubicBezTo>
                    <a:pt x="251" y="182"/>
                    <a:pt x="266" y="193"/>
                    <a:pt x="284" y="197"/>
                  </a:cubicBezTo>
                  <a:cubicBezTo>
                    <a:pt x="239" y="272"/>
                    <a:pt x="225" y="319"/>
                    <a:pt x="167" y="358"/>
                  </a:cubicBezTo>
                  <a:cubicBezTo>
                    <a:pt x="150" y="370"/>
                    <a:pt x="126" y="371"/>
                    <a:pt x="106" y="364"/>
                  </a:cubicBezTo>
                  <a:cubicBezTo>
                    <a:pt x="84" y="356"/>
                    <a:pt x="69" y="334"/>
                    <a:pt x="66" y="303"/>
                  </a:cubicBezTo>
                  <a:cubicBezTo>
                    <a:pt x="63" y="277"/>
                    <a:pt x="74" y="257"/>
                    <a:pt x="92" y="241"/>
                  </a:cubicBezTo>
                  <a:cubicBezTo>
                    <a:pt x="97" y="236"/>
                    <a:pt x="97" y="232"/>
                    <a:pt x="95" y="229"/>
                  </a:cubicBezTo>
                  <a:cubicBezTo>
                    <a:pt x="93" y="225"/>
                    <a:pt x="89" y="224"/>
                    <a:pt x="86" y="225"/>
                  </a:cubicBezTo>
                  <a:cubicBezTo>
                    <a:pt x="76" y="225"/>
                    <a:pt x="50" y="230"/>
                    <a:pt x="32" y="249"/>
                  </a:cubicBezTo>
                  <a:cubicBezTo>
                    <a:pt x="23" y="259"/>
                    <a:pt x="14" y="275"/>
                    <a:pt x="11" y="288"/>
                  </a:cubicBezTo>
                  <a:cubicBezTo>
                    <a:pt x="9" y="301"/>
                    <a:pt x="0" y="376"/>
                    <a:pt x="80" y="400"/>
                  </a:cubicBezTo>
                  <a:cubicBezTo>
                    <a:pt x="84" y="401"/>
                    <a:pt x="152" y="421"/>
                    <a:pt x="221" y="365"/>
                  </a:cubicBezTo>
                  <a:cubicBezTo>
                    <a:pt x="291" y="308"/>
                    <a:pt x="329" y="248"/>
                    <a:pt x="367" y="188"/>
                  </a:cubicBezTo>
                  <a:cubicBezTo>
                    <a:pt x="403" y="179"/>
                    <a:pt x="439" y="170"/>
                    <a:pt x="467" y="181"/>
                  </a:cubicBezTo>
                  <a:cubicBezTo>
                    <a:pt x="478" y="185"/>
                    <a:pt x="481" y="183"/>
                    <a:pt x="475" y="164"/>
                  </a:cubicBezTo>
                  <a:cubicBezTo>
                    <a:pt x="463" y="137"/>
                    <a:pt x="436" y="131"/>
                    <a:pt x="404" y="133"/>
                  </a:cubicBezTo>
                  <a:cubicBezTo>
                    <a:pt x="409" y="127"/>
                    <a:pt x="413" y="120"/>
                    <a:pt x="418" y="113"/>
                  </a:cubicBezTo>
                  <a:cubicBezTo>
                    <a:pt x="431" y="95"/>
                    <a:pt x="460" y="58"/>
                    <a:pt x="513" y="18"/>
                  </a:cubicBezTo>
                  <a:cubicBezTo>
                    <a:pt x="520" y="13"/>
                    <a:pt x="522" y="9"/>
                    <a:pt x="520" y="5"/>
                  </a:cubicBezTo>
                  <a:cubicBezTo>
                    <a:pt x="519" y="1"/>
                    <a:pt x="514" y="0"/>
                    <a:pt x="50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8D9BBB3B-2F7E-456F-96F9-C68D1A3D91C4}"/>
                </a:ext>
              </a:extLst>
            </p:cNvPr>
            <p:cNvSpPr>
              <a:spLocks/>
            </p:cNvSpPr>
            <p:nvPr userDrawn="1"/>
          </p:nvSpPr>
          <p:spPr bwMode="auto">
            <a:xfrm>
              <a:off x="323851" y="6299200"/>
              <a:ext cx="439738" cy="153988"/>
            </a:xfrm>
            <a:custGeom>
              <a:avLst/>
              <a:gdLst>
                <a:gd name="T0" fmla="*/ 574 w 576"/>
                <a:gd name="T1" fmla="*/ 4 h 201"/>
                <a:gd name="T2" fmla="*/ 559 w 576"/>
                <a:gd name="T3" fmla="*/ 2 h 201"/>
                <a:gd name="T4" fmla="*/ 363 w 576"/>
                <a:gd name="T5" fmla="*/ 18 h 201"/>
                <a:gd name="T6" fmla="*/ 110 w 576"/>
                <a:gd name="T7" fmla="*/ 21 h 201"/>
                <a:gd name="T8" fmla="*/ 21 w 576"/>
                <a:gd name="T9" fmla="*/ 92 h 201"/>
                <a:gd name="T10" fmla="*/ 71 w 576"/>
                <a:gd name="T11" fmla="*/ 195 h 201"/>
                <a:gd name="T12" fmla="*/ 135 w 576"/>
                <a:gd name="T13" fmla="*/ 177 h 201"/>
                <a:gd name="T14" fmla="*/ 135 w 576"/>
                <a:gd name="T15" fmla="*/ 168 h 201"/>
                <a:gd name="T16" fmla="*/ 127 w 576"/>
                <a:gd name="T17" fmla="*/ 166 h 201"/>
                <a:gd name="T18" fmla="*/ 118 w 576"/>
                <a:gd name="T19" fmla="*/ 167 h 201"/>
                <a:gd name="T20" fmla="*/ 58 w 576"/>
                <a:gd name="T21" fmla="*/ 95 h 201"/>
                <a:gd name="T22" fmla="*/ 90 w 576"/>
                <a:gd name="T23" fmla="*/ 58 h 201"/>
                <a:gd name="T24" fmla="*/ 372 w 576"/>
                <a:gd name="T25" fmla="*/ 79 h 201"/>
                <a:gd name="T26" fmla="*/ 571 w 576"/>
                <a:gd name="T27" fmla="*/ 16 h 201"/>
                <a:gd name="T28" fmla="*/ 574 w 576"/>
                <a:gd name="T2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201">
                  <a:moveTo>
                    <a:pt x="574" y="4"/>
                  </a:moveTo>
                  <a:cubicBezTo>
                    <a:pt x="571" y="1"/>
                    <a:pt x="567" y="0"/>
                    <a:pt x="559" y="2"/>
                  </a:cubicBezTo>
                  <a:cubicBezTo>
                    <a:pt x="495" y="20"/>
                    <a:pt x="434" y="24"/>
                    <a:pt x="363" y="18"/>
                  </a:cubicBezTo>
                  <a:cubicBezTo>
                    <a:pt x="317" y="14"/>
                    <a:pt x="190" y="2"/>
                    <a:pt x="110" y="21"/>
                  </a:cubicBezTo>
                  <a:cubicBezTo>
                    <a:pt x="40" y="38"/>
                    <a:pt x="22" y="89"/>
                    <a:pt x="21" y="92"/>
                  </a:cubicBezTo>
                  <a:cubicBezTo>
                    <a:pt x="0" y="144"/>
                    <a:pt x="41" y="186"/>
                    <a:pt x="71" y="195"/>
                  </a:cubicBezTo>
                  <a:cubicBezTo>
                    <a:pt x="94" y="201"/>
                    <a:pt x="123" y="193"/>
                    <a:pt x="135" y="177"/>
                  </a:cubicBezTo>
                  <a:cubicBezTo>
                    <a:pt x="137" y="175"/>
                    <a:pt x="137" y="171"/>
                    <a:pt x="135" y="168"/>
                  </a:cubicBezTo>
                  <a:cubicBezTo>
                    <a:pt x="134" y="165"/>
                    <a:pt x="130" y="165"/>
                    <a:pt x="127" y="166"/>
                  </a:cubicBezTo>
                  <a:cubicBezTo>
                    <a:pt x="124" y="166"/>
                    <a:pt x="121" y="167"/>
                    <a:pt x="118" y="167"/>
                  </a:cubicBezTo>
                  <a:cubicBezTo>
                    <a:pt x="81" y="171"/>
                    <a:pt x="47" y="137"/>
                    <a:pt x="58" y="95"/>
                  </a:cubicBezTo>
                  <a:cubicBezTo>
                    <a:pt x="60" y="86"/>
                    <a:pt x="68" y="68"/>
                    <a:pt x="90" y="58"/>
                  </a:cubicBezTo>
                  <a:cubicBezTo>
                    <a:pt x="157" y="30"/>
                    <a:pt x="278" y="72"/>
                    <a:pt x="372" y="79"/>
                  </a:cubicBezTo>
                  <a:cubicBezTo>
                    <a:pt x="510" y="83"/>
                    <a:pt x="559" y="32"/>
                    <a:pt x="571" y="16"/>
                  </a:cubicBezTo>
                  <a:cubicBezTo>
                    <a:pt x="576" y="11"/>
                    <a:pt x="576" y="7"/>
                    <a:pt x="57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8686CC0F-C714-4811-9784-7F68CDDAC583}"/>
                </a:ext>
              </a:extLst>
            </p:cNvPr>
            <p:cNvSpPr>
              <a:spLocks noEditPoints="1"/>
            </p:cNvSpPr>
            <p:nvPr userDrawn="1"/>
          </p:nvSpPr>
          <p:spPr bwMode="auto">
            <a:xfrm>
              <a:off x="1366838" y="6565900"/>
              <a:ext cx="30163" cy="28575"/>
            </a:xfrm>
            <a:custGeom>
              <a:avLst/>
              <a:gdLst>
                <a:gd name="T0" fmla="*/ 19 w 39"/>
                <a:gd name="T1" fmla="*/ 0 h 39"/>
                <a:gd name="T2" fmla="*/ 39 w 39"/>
                <a:gd name="T3" fmla="*/ 20 h 39"/>
                <a:gd name="T4" fmla="*/ 19 w 39"/>
                <a:gd name="T5" fmla="*/ 39 h 39"/>
                <a:gd name="T6" fmla="*/ 0 w 39"/>
                <a:gd name="T7" fmla="*/ 20 h 39"/>
                <a:gd name="T8" fmla="*/ 19 w 39"/>
                <a:gd name="T9" fmla="*/ 0 h 39"/>
                <a:gd name="T10" fmla="*/ 34 w 39"/>
                <a:gd name="T11" fmla="*/ 20 h 39"/>
                <a:gd name="T12" fmla="*/ 19 w 39"/>
                <a:gd name="T13" fmla="*/ 4 h 39"/>
                <a:gd name="T14" fmla="*/ 5 w 39"/>
                <a:gd name="T15" fmla="*/ 20 h 39"/>
                <a:gd name="T16" fmla="*/ 19 w 39"/>
                <a:gd name="T17" fmla="*/ 35 h 39"/>
                <a:gd name="T18" fmla="*/ 34 w 39"/>
                <a:gd name="T19" fmla="*/ 20 h 39"/>
                <a:gd name="T20" fmla="*/ 18 w 39"/>
                <a:gd name="T21" fmla="*/ 21 h 39"/>
                <a:gd name="T22" fmla="*/ 15 w 39"/>
                <a:gd name="T23" fmla="*/ 21 h 39"/>
                <a:gd name="T24" fmla="*/ 15 w 39"/>
                <a:gd name="T25" fmla="*/ 31 h 39"/>
                <a:gd name="T26" fmla="*/ 11 w 39"/>
                <a:gd name="T27" fmla="*/ 31 h 39"/>
                <a:gd name="T28" fmla="*/ 11 w 39"/>
                <a:gd name="T29" fmla="*/ 9 h 39"/>
                <a:gd name="T30" fmla="*/ 20 w 39"/>
                <a:gd name="T31" fmla="*/ 9 h 39"/>
                <a:gd name="T32" fmla="*/ 28 w 39"/>
                <a:gd name="T33" fmla="*/ 15 h 39"/>
                <a:gd name="T34" fmla="*/ 22 w 39"/>
                <a:gd name="T35" fmla="*/ 21 h 39"/>
                <a:gd name="T36" fmla="*/ 28 w 39"/>
                <a:gd name="T37" fmla="*/ 31 h 39"/>
                <a:gd name="T38" fmla="*/ 24 w 39"/>
                <a:gd name="T39" fmla="*/ 31 h 39"/>
                <a:gd name="T40" fmla="*/ 18 w 39"/>
                <a:gd name="T41" fmla="*/ 21 h 39"/>
                <a:gd name="T42" fmla="*/ 19 w 39"/>
                <a:gd name="T43" fmla="*/ 18 h 39"/>
                <a:gd name="T44" fmla="*/ 24 w 39"/>
                <a:gd name="T45" fmla="*/ 15 h 39"/>
                <a:gd name="T46" fmla="*/ 19 w 39"/>
                <a:gd name="T47" fmla="*/ 12 h 39"/>
                <a:gd name="T48" fmla="*/ 15 w 39"/>
                <a:gd name="T49" fmla="*/ 12 h 39"/>
                <a:gd name="T50" fmla="*/ 15 w 39"/>
                <a:gd name="T51" fmla="*/ 18 h 39"/>
                <a:gd name="T52" fmla="*/ 19 w 39"/>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9">
                  <a:moveTo>
                    <a:pt x="19" y="0"/>
                  </a:moveTo>
                  <a:cubicBezTo>
                    <a:pt x="30" y="0"/>
                    <a:pt x="39" y="9"/>
                    <a:pt x="39" y="20"/>
                  </a:cubicBezTo>
                  <a:cubicBezTo>
                    <a:pt x="39" y="31"/>
                    <a:pt x="30" y="39"/>
                    <a:pt x="19" y="39"/>
                  </a:cubicBezTo>
                  <a:cubicBezTo>
                    <a:pt x="9" y="39"/>
                    <a:pt x="0" y="31"/>
                    <a:pt x="0" y="20"/>
                  </a:cubicBezTo>
                  <a:cubicBezTo>
                    <a:pt x="0" y="9"/>
                    <a:pt x="9" y="0"/>
                    <a:pt x="19" y="0"/>
                  </a:cubicBezTo>
                  <a:close/>
                  <a:moveTo>
                    <a:pt x="34" y="20"/>
                  </a:moveTo>
                  <a:cubicBezTo>
                    <a:pt x="34" y="11"/>
                    <a:pt x="28" y="4"/>
                    <a:pt x="19" y="4"/>
                  </a:cubicBezTo>
                  <a:cubicBezTo>
                    <a:pt x="11" y="4"/>
                    <a:pt x="5" y="11"/>
                    <a:pt x="5" y="20"/>
                  </a:cubicBezTo>
                  <a:cubicBezTo>
                    <a:pt x="5" y="28"/>
                    <a:pt x="11" y="35"/>
                    <a:pt x="19" y="35"/>
                  </a:cubicBezTo>
                  <a:cubicBezTo>
                    <a:pt x="28" y="35"/>
                    <a:pt x="34" y="28"/>
                    <a:pt x="34" y="20"/>
                  </a:cubicBezTo>
                  <a:close/>
                  <a:moveTo>
                    <a:pt x="18" y="21"/>
                  </a:moveTo>
                  <a:cubicBezTo>
                    <a:pt x="15" y="21"/>
                    <a:pt x="15" y="21"/>
                    <a:pt x="15" y="21"/>
                  </a:cubicBezTo>
                  <a:cubicBezTo>
                    <a:pt x="15" y="31"/>
                    <a:pt x="15" y="31"/>
                    <a:pt x="15" y="31"/>
                  </a:cubicBezTo>
                  <a:cubicBezTo>
                    <a:pt x="11" y="31"/>
                    <a:pt x="11" y="31"/>
                    <a:pt x="11" y="31"/>
                  </a:cubicBezTo>
                  <a:cubicBezTo>
                    <a:pt x="11" y="9"/>
                    <a:pt x="11" y="9"/>
                    <a:pt x="11" y="9"/>
                  </a:cubicBezTo>
                  <a:cubicBezTo>
                    <a:pt x="20" y="9"/>
                    <a:pt x="20" y="9"/>
                    <a:pt x="20" y="9"/>
                  </a:cubicBezTo>
                  <a:cubicBezTo>
                    <a:pt x="25" y="9"/>
                    <a:pt x="28" y="10"/>
                    <a:pt x="28" y="15"/>
                  </a:cubicBezTo>
                  <a:cubicBezTo>
                    <a:pt x="28" y="19"/>
                    <a:pt x="26" y="21"/>
                    <a:pt x="22" y="21"/>
                  </a:cubicBezTo>
                  <a:cubicBezTo>
                    <a:pt x="28" y="31"/>
                    <a:pt x="28" y="31"/>
                    <a:pt x="28" y="31"/>
                  </a:cubicBezTo>
                  <a:cubicBezTo>
                    <a:pt x="24" y="31"/>
                    <a:pt x="24" y="31"/>
                    <a:pt x="24" y="31"/>
                  </a:cubicBezTo>
                  <a:lnTo>
                    <a:pt x="18" y="21"/>
                  </a:lnTo>
                  <a:close/>
                  <a:moveTo>
                    <a:pt x="19" y="18"/>
                  </a:moveTo>
                  <a:cubicBezTo>
                    <a:pt x="22" y="18"/>
                    <a:pt x="24" y="18"/>
                    <a:pt x="24" y="15"/>
                  </a:cubicBezTo>
                  <a:cubicBezTo>
                    <a:pt x="24" y="12"/>
                    <a:pt x="21" y="12"/>
                    <a:pt x="19" y="12"/>
                  </a:cubicBezTo>
                  <a:cubicBezTo>
                    <a:pt x="15" y="12"/>
                    <a:pt x="15" y="12"/>
                    <a:pt x="15" y="12"/>
                  </a:cubicBezTo>
                  <a:cubicBezTo>
                    <a:pt x="15" y="18"/>
                    <a:pt x="15" y="18"/>
                    <a:pt x="15" y="18"/>
                  </a:cubicBezTo>
                  <a:lnTo>
                    <a:pt x="1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 name="Straight Connector 2">
            <a:extLst>
              <a:ext uri="{FF2B5EF4-FFF2-40B4-BE49-F238E27FC236}">
                <a16:creationId xmlns:a16="http://schemas.microsoft.com/office/drawing/2014/main" id="{F34A5DA0-C93A-47F6-AD95-4E18060A2CFB}"/>
              </a:ext>
            </a:extLst>
          </p:cNvPr>
          <p:cNvCxnSpPr/>
          <p:nvPr userDrawn="1"/>
        </p:nvCxnSpPr>
        <p:spPr>
          <a:xfrm>
            <a:off x="6096000" y="5168573"/>
            <a:ext cx="0" cy="992459"/>
          </a:xfrm>
          <a:prstGeom prst="line">
            <a:avLst/>
          </a:prstGeom>
          <a:ln w="2222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47204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9"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50000"/>
                    <a:lumOff val="50000"/>
                  </a:schemeClr>
                </a:solidFill>
              </a:defRPr>
            </a:lvl1pPr>
          </a:lstStyle>
          <a:p>
            <a:fld id="{8C1CC9D4-B77B-4D62-AC93-E2BD36A15066}" type="slidenum">
              <a:rPr lang="en-IN" smtClean="0"/>
              <a:pPr/>
              <a:t>‹#›</a:t>
            </a:fld>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3819236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tx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13" name="Slide Number Placeholder 4">
            <a:extLst>
              <a:ext uri="{FF2B5EF4-FFF2-40B4-BE49-F238E27FC236}">
                <a16:creationId xmlns:a16="http://schemas.microsoft.com/office/drawing/2014/main" id="{B14EC169-6BA9-1B89-4584-EC6E8502ED1E}"/>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3969671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0_Title and Content">
    <p:bg>
      <p:bgPr>
        <a:solidFill>
          <a:schemeClr val="bg2">
            <a:lumMod val="75000"/>
          </a:schemeClr>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13" name="Slide Number Placeholder 4">
            <a:extLst>
              <a:ext uri="{FF2B5EF4-FFF2-40B4-BE49-F238E27FC236}">
                <a16:creationId xmlns:a16="http://schemas.microsoft.com/office/drawing/2014/main" id="{B14EC169-6BA9-1B89-4584-EC6E8502ED1E}"/>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40050305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1_Title and Content">
    <p:bg>
      <p:bgPr>
        <a:solidFill>
          <a:schemeClr val="bg1"/>
        </a:solidFill>
        <a:effectLst/>
      </p:bgPr>
    </p:bg>
    <p:spTree>
      <p:nvGrpSpPr>
        <p:cNvPr id="1" name=""/>
        <p:cNvGrpSpPr/>
        <p:nvPr/>
      </p:nvGrpSpPr>
      <p:grpSpPr>
        <a:xfrm>
          <a:off x="0" y="0"/>
          <a:ext cx="0" cy="0"/>
          <a:chOff x="0" y="0"/>
          <a:chExt cx="0" cy="0"/>
        </a:xfrm>
      </p:grpSpPr>
      <p:pic>
        <p:nvPicPr>
          <p:cNvPr id="14" name="Picture 13" descr="A picture containing outdoor, sky, day&#10;&#10;Description automatically generated">
            <a:extLst>
              <a:ext uri="{FF2B5EF4-FFF2-40B4-BE49-F238E27FC236}">
                <a16:creationId xmlns:a16="http://schemas.microsoft.com/office/drawing/2014/main" id="{47D60FC7-6F9E-2B4F-B50A-A5DA787AA27E}"/>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sp>
        <p:nvSpPr>
          <p:cNvPr id="15" name="Rectangle 14">
            <a:extLst>
              <a:ext uri="{FF2B5EF4-FFF2-40B4-BE49-F238E27FC236}">
                <a16:creationId xmlns:a16="http://schemas.microsoft.com/office/drawing/2014/main" id="{36F96809-CF8A-A48A-9542-690B107AD0E2}"/>
              </a:ext>
            </a:extLst>
          </p:cNvPr>
          <p:cNvSpPr/>
          <p:nvPr userDrawn="1"/>
        </p:nvSpPr>
        <p:spPr>
          <a:xfrm>
            <a:off x="0" y="4867057"/>
            <a:ext cx="12192000" cy="199094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13" name="Slide Number Placeholder 4">
            <a:extLst>
              <a:ext uri="{FF2B5EF4-FFF2-40B4-BE49-F238E27FC236}">
                <a16:creationId xmlns:a16="http://schemas.microsoft.com/office/drawing/2014/main" id="{B14EC169-6BA9-1B89-4584-EC6E8502ED1E}"/>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18871905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2_Title and Content">
    <p:bg>
      <p:bgPr>
        <a:solidFill>
          <a:schemeClr val="bg2"/>
        </a:solidFill>
        <a:effectLst/>
      </p:bgPr>
    </p:bg>
    <p:spTree>
      <p:nvGrpSpPr>
        <p:cNvPr id="1" name=""/>
        <p:cNvGrpSpPr/>
        <p:nvPr/>
      </p:nvGrpSpPr>
      <p:grpSpPr>
        <a:xfrm>
          <a:off x="0" y="0"/>
          <a:ext cx="0" cy="0"/>
          <a:chOff x="0" y="0"/>
          <a:chExt cx="0" cy="0"/>
        </a:xfrm>
      </p:grpSpPr>
      <p:pic>
        <p:nvPicPr>
          <p:cNvPr id="14" name="Picture 13" descr="A picture containing outdoor, sky, day&#10;&#10;Description automatically generated">
            <a:extLst>
              <a:ext uri="{FF2B5EF4-FFF2-40B4-BE49-F238E27FC236}">
                <a16:creationId xmlns:a16="http://schemas.microsoft.com/office/drawing/2014/main" id="{47D60FC7-6F9E-2B4F-B50A-A5DA787AA27E}"/>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sp>
        <p:nvSpPr>
          <p:cNvPr id="15" name="Rectangle 14">
            <a:extLst>
              <a:ext uri="{FF2B5EF4-FFF2-40B4-BE49-F238E27FC236}">
                <a16:creationId xmlns:a16="http://schemas.microsoft.com/office/drawing/2014/main" id="{36F96809-CF8A-A48A-9542-690B107AD0E2}"/>
              </a:ext>
            </a:extLst>
          </p:cNvPr>
          <p:cNvSpPr/>
          <p:nvPr userDrawn="1"/>
        </p:nvSpPr>
        <p:spPr>
          <a:xfrm>
            <a:off x="0" y="4867057"/>
            <a:ext cx="12192000" cy="199094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13" name="Slide Number Placeholder 4">
            <a:extLst>
              <a:ext uri="{FF2B5EF4-FFF2-40B4-BE49-F238E27FC236}">
                <a16:creationId xmlns:a16="http://schemas.microsoft.com/office/drawing/2014/main" id="{B14EC169-6BA9-1B89-4584-EC6E8502ED1E}"/>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7268686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accent2">
            <a:lumMod val="20000"/>
            <a:lumOff val="80000"/>
          </a:schemeClr>
        </a:solidFill>
        <a:effectLst/>
      </p:bgPr>
    </p:bg>
    <p:spTree>
      <p:nvGrpSpPr>
        <p:cNvPr id="1" name=""/>
        <p:cNvGrpSpPr/>
        <p:nvPr/>
      </p:nvGrpSpPr>
      <p:grpSpPr>
        <a:xfrm>
          <a:off x="0" y="0"/>
          <a:ext cx="0" cy="0"/>
          <a:chOff x="0" y="0"/>
          <a:chExt cx="0" cy="0"/>
        </a:xfrm>
      </p:grpSpPr>
      <p:pic>
        <p:nvPicPr>
          <p:cNvPr id="16" name="Picture 15" descr="A picture containing outdoor, sky, day&#10;&#10;Description automatically generated">
            <a:extLst>
              <a:ext uri="{FF2B5EF4-FFF2-40B4-BE49-F238E27FC236}">
                <a16:creationId xmlns:a16="http://schemas.microsoft.com/office/drawing/2014/main" id="{5778953E-AFB2-5F0C-F33E-B9AFA3A1B80A}"/>
              </a:ext>
            </a:extLst>
          </p:cNvPr>
          <p:cNvPicPr>
            <a:picLocks noChangeAspect="1"/>
          </p:cNvPicPr>
          <p:nvPr userDrawn="1"/>
        </p:nvPicPr>
        <p:blipFill rotWithShape="1">
          <a:blip r:embed="rId2">
            <a:duotone>
              <a:schemeClr val="accent4">
                <a:shade val="45000"/>
                <a:satMod val="135000"/>
              </a:schemeClr>
              <a:prstClr val="white"/>
            </a:duotone>
            <a:alphaModFix amt="7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9"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24411807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13" name="Slide Number Placeholder 4">
            <a:extLst>
              <a:ext uri="{FF2B5EF4-FFF2-40B4-BE49-F238E27FC236}">
                <a16:creationId xmlns:a16="http://schemas.microsoft.com/office/drawing/2014/main" id="{1554517D-B148-47F8-5D22-254783023B3C}"/>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35336385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pic>
        <p:nvPicPr>
          <p:cNvPr id="13" name="Picture 12" descr="A picture containing outdoor, sky, day&#10;&#10;Description automatically generated">
            <a:extLst>
              <a:ext uri="{FF2B5EF4-FFF2-40B4-BE49-F238E27FC236}">
                <a16:creationId xmlns:a16="http://schemas.microsoft.com/office/drawing/2014/main" id="{312C01A4-1B8C-73ED-7E90-215F6755DBA1}"/>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14" name="Slide Number Placeholder 4">
            <a:extLst>
              <a:ext uri="{FF2B5EF4-FFF2-40B4-BE49-F238E27FC236}">
                <a16:creationId xmlns:a16="http://schemas.microsoft.com/office/drawing/2014/main" id="{581BA972-9D9E-6537-FEB7-EFA2BF478A75}"/>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41340527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6" name="Title 1">
            <a:extLst>
              <a:ext uri="{FF2B5EF4-FFF2-40B4-BE49-F238E27FC236}">
                <a16:creationId xmlns:a16="http://schemas.microsoft.com/office/drawing/2014/main" id="{2F4B1C66-C25F-E768-F732-69DB8BEB7895}"/>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10" name="Picture 9">
            <a:extLst>
              <a:ext uri="{FF2B5EF4-FFF2-40B4-BE49-F238E27FC236}">
                <a16:creationId xmlns:a16="http://schemas.microsoft.com/office/drawing/2014/main" id="{C9BD07AF-EF14-0DD8-F37A-595AE4E695CD}"/>
              </a:ext>
            </a:extLst>
          </p:cNvPr>
          <p:cNvPicPr>
            <a:picLocks noChangeAspect="1"/>
          </p:cNvPicPr>
          <p:nvPr userDrawn="1"/>
        </p:nvPicPr>
        <p:blipFill>
          <a:blip r:embed="rId3"/>
          <a:stretch>
            <a:fillRect/>
          </a:stretch>
        </p:blipFill>
        <p:spPr>
          <a:xfrm>
            <a:off x="0" y="5626104"/>
            <a:ext cx="12204357" cy="1257296"/>
          </a:xfrm>
          <a:prstGeom prst="rect">
            <a:avLst/>
          </a:prstGeom>
        </p:spPr>
      </p:pic>
      <p:sp>
        <p:nvSpPr>
          <p:cNvPr id="11" name="Slide Number Placeholder 4">
            <a:extLst>
              <a:ext uri="{FF2B5EF4-FFF2-40B4-BE49-F238E27FC236}">
                <a16:creationId xmlns:a16="http://schemas.microsoft.com/office/drawing/2014/main" id="{2A177AA1-06AF-11BA-EB65-021ED87D1792}"/>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26670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96A35B37-C842-4852-980B-C663544714FE}"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4483588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pic>
        <p:nvPicPr>
          <p:cNvPr id="13" name="Picture 12" descr="A picture containing outdoor, sky, day&#10;&#10;Description automatically generated">
            <a:extLst>
              <a:ext uri="{FF2B5EF4-FFF2-40B4-BE49-F238E27FC236}">
                <a16:creationId xmlns:a16="http://schemas.microsoft.com/office/drawing/2014/main" id="{312C01A4-1B8C-73ED-7E90-215F6755DBA1}"/>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6" name="Title 1">
            <a:extLst>
              <a:ext uri="{FF2B5EF4-FFF2-40B4-BE49-F238E27FC236}">
                <a16:creationId xmlns:a16="http://schemas.microsoft.com/office/drawing/2014/main" id="{2F4B1C66-C25F-E768-F732-69DB8BEB7895}"/>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10" name="Picture 9">
            <a:extLst>
              <a:ext uri="{FF2B5EF4-FFF2-40B4-BE49-F238E27FC236}">
                <a16:creationId xmlns:a16="http://schemas.microsoft.com/office/drawing/2014/main" id="{4B249BB0-363A-23C7-726C-82CAFCF8E24B}"/>
              </a:ext>
            </a:extLst>
          </p:cNvPr>
          <p:cNvPicPr>
            <a:picLocks noChangeAspect="1"/>
          </p:cNvPicPr>
          <p:nvPr userDrawn="1"/>
        </p:nvPicPr>
        <p:blipFill>
          <a:blip r:embed="rId5"/>
          <a:stretch>
            <a:fillRect/>
          </a:stretch>
        </p:blipFill>
        <p:spPr>
          <a:xfrm>
            <a:off x="0" y="5626104"/>
            <a:ext cx="12204357" cy="1257296"/>
          </a:xfrm>
          <a:prstGeom prst="rect">
            <a:avLst/>
          </a:prstGeom>
        </p:spPr>
      </p:pic>
      <p:sp>
        <p:nvSpPr>
          <p:cNvPr id="11" name="Slide Number Placeholder 4">
            <a:extLst>
              <a:ext uri="{FF2B5EF4-FFF2-40B4-BE49-F238E27FC236}">
                <a16:creationId xmlns:a16="http://schemas.microsoft.com/office/drawing/2014/main" id="{D4260489-724B-9F34-3F81-A740E81BC21E}"/>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94162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pic>
        <p:nvPicPr>
          <p:cNvPr id="13" name="Picture 12" descr="A picture containing outdoor, sky, day&#10;&#10;Description automatically generated">
            <a:extLst>
              <a:ext uri="{FF2B5EF4-FFF2-40B4-BE49-F238E27FC236}">
                <a16:creationId xmlns:a16="http://schemas.microsoft.com/office/drawing/2014/main" id="{312C01A4-1B8C-73ED-7E90-215F6755DBA1}"/>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10" name="Picture 9">
            <a:extLst>
              <a:ext uri="{FF2B5EF4-FFF2-40B4-BE49-F238E27FC236}">
                <a16:creationId xmlns:a16="http://schemas.microsoft.com/office/drawing/2014/main" id="{D1D8AA0F-D744-67BB-9507-5D115259F4DD}"/>
              </a:ext>
            </a:extLst>
          </p:cNvPr>
          <p:cNvPicPr>
            <a:picLocks noChangeAspect="1"/>
          </p:cNvPicPr>
          <p:nvPr userDrawn="1"/>
        </p:nvPicPr>
        <p:blipFill>
          <a:blip r:embed="rId5"/>
          <a:stretch>
            <a:fillRect/>
          </a:stretch>
        </p:blipFill>
        <p:spPr>
          <a:xfrm>
            <a:off x="0" y="5626104"/>
            <a:ext cx="12204357" cy="1257296"/>
          </a:xfrm>
          <a:prstGeom prst="rect">
            <a:avLst/>
          </a:prstGeom>
        </p:spPr>
      </p:pic>
      <p:sp>
        <p:nvSpPr>
          <p:cNvPr id="11" name="Slide Number Placeholder 4">
            <a:extLst>
              <a:ext uri="{FF2B5EF4-FFF2-40B4-BE49-F238E27FC236}">
                <a16:creationId xmlns:a16="http://schemas.microsoft.com/office/drawing/2014/main" id="{42B8221B-5C9E-E562-6958-9AD01F94E57A}"/>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636866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6" name="Text Placeholder 2">
            <a:extLst>
              <a:ext uri="{FF2B5EF4-FFF2-40B4-BE49-F238E27FC236}">
                <a16:creationId xmlns:a16="http://schemas.microsoft.com/office/drawing/2014/main" id="{E676D837-7E1D-69B0-D707-A9E16D8AAF8B}"/>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2" name="Picture 11">
            <a:extLst>
              <a:ext uri="{FF2B5EF4-FFF2-40B4-BE49-F238E27FC236}">
                <a16:creationId xmlns:a16="http://schemas.microsoft.com/office/drawing/2014/main" id="{5124BDC8-F634-D2B4-EB54-CB70BB172B95}"/>
              </a:ext>
            </a:extLst>
          </p:cNvPr>
          <p:cNvPicPr>
            <a:picLocks noChangeAspect="1"/>
          </p:cNvPicPr>
          <p:nvPr userDrawn="1"/>
        </p:nvPicPr>
        <p:blipFill>
          <a:blip r:embed="rId3"/>
          <a:stretch>
            <a:fillRect/>
          </a:stretch>
        </p:blipFill>
        <p:spPr>
          <a:xfrm>
            <a:off x="0" y="5626104"/>
            <a:ext cx="12204357" cy="1257296"/>
          </a:xfrm>
          <a:prstGeom prst="rect">
            <a:avLst/>
          </a:prstGeom>
        </p:spPr>
      </p:pic>
      <p:sp>
        <p:nvSpPr>
          <p:cNvPr id="13" name="Slide Number Placeholder 4">
            <a:extLst>
              <a:ext uri="{FF2B5EF4-FFF2-40B4-BE49-F238E27FC236}">
                <a16:creationId xmlns:a16="http://schemas.microsoft.com/office/drawing/2014/main" id="{01FE2514-F719-3C9B-7DF5-2D9AE5B9DE20}"/>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975733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C0A3F0-8CC9-66DB-C575-BB7B844161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flipH="1">
            <a:off x="559847" y="5066444"/>
            <a:ext cx="1580482" cy="1562956"/>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10189397"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8" name="Text Placeholder 2">
            <a:extLst>
              <a:ext uri="{FF2B5EF4-FFF2-40B4-BE49-F238E27FC236}">
                <a16:creationId xmlns:a16="http://schemas.microsoft.com/office/drawing/2014/main" id="{55DEA185-23F8-28E0-1D0D-6F9F4C0AC931}"/>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6FCB4E3E-2AAB-6F13-2BC4-04E203CFD83C}"/>
              </a:ext>
            </a:extLst>
          </p:cNvPr>
          <p:cNvPicPr>
            <a:picLocks noChangeAspect="1"/>
          </p:cNvPicPr>
          <p:nvPr userDrawn="1"/>
        </p:nvPicPr>
        <p:blipFill>
          <a:blip r:embed="rId4"/>
          <a:stretch>
            <a:fillRect/>
          </a:stretch>
        </p:blipFill>
        <p:spPr>
          <a:xfrm>
            <a:off x="0" y="5626104"/>
            <a:ext cx="12204357" cy="1257296"/>
          </a:xfrm>
          <a:prstGeom prst="rect">
            <a:avLst/>
          </a:prstGeom>
        </p:spPr>
      </p:pic>
      <p:sp>
        <p:nvSpPr>
          <p:cNvPr id="12" name="Slide Number Placeholder 4">
            <a:extLst>
              <a:ext uri="{FF2B5EF4-FFF2-40B4-BE49-F238E27FC236}">
                <a16:creationId xmlns:a16="http://schemas.microsoft.com/office/drawing/2014/main" id="{811E93DA-30E9-C363-299B-B6C3370A4FA8}"/>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958221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pic>
        <p:nvPicPr>
          <p:cNvPr id="10" name="Picture 9" descr="A picture containing colorful&#10;&#10;Description automatically generated">
            <a:extLst>
              <a:ext uri="{FF2B5EF4-FFF2-40B4-BE49-F238E27FC236}">
                <a16:creationId xmlns:a16="http://schemas.microsoft.com/office/drawing/2014/main" id="{A6D97853-A4F6-EDA2-24FF-A076ECFD84B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781423" y="917575"/>
            <a:ext cx="2788277" cy="6083513"/>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10189397"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8" name="Text Placeholder 2">
            <a:extLst>
              <a:ext uri="{FF2B5EF4-FFF2-40B4-BE49-F238E27FC236}">
                <a16:creationId xmlns:a16="http://schemas.microsoft.com/office/drawing/2014/main" id="{55DEA185-23F8-28E0-1D0D-6F9F4C0AC931}"/>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1" name="Picture 10">
            <a:extLst>
              <a:ext uri="{FF2B5EF4-FFF2-40B4-BE49-F238E27FC236}">
                <a16:creationId xmlns:a16="http://schemas.microsoft.com/office/drawing/2014/main" id="{CCD7E737-3156-AEF9-5406-CC7FAC1A7A9A}"/>
              </a:ext>
            </a:extLst>
          </p:cNvPr>
          <p:cNvPicPr>
            <a:picLocks noChangeAspect="1"/>
          </p:cNvPicPr>
          <p:nvPr userDrawn="1"/>
        </p:nvPicPr>
        <p:blipFill>
          <a:blip r:embed="rId4"/>
          <a:stretch>
            <a:fillRect/>
          </a:stretch>
        </p:blipFill>
        <p:spPr>
          <a:xfrm>
            <a:off x="0" y="5626104"/>
            <a:ext cx="12204357" cy="1257296"/>
          </a:xfrm>
          <a:prstGeom prst="rect">
            <a:avLst/>
          </a:prstGeom>
        </p:spPr>
      </p:pic>
      <p:sp>
        <p:nvSpPr>
          <p:cNvPr id="12" name="Slide Number Placeholder 4">
            <a:extLst>
              <a:ext uri="{FF2B5EF4-FFF2-40B4-BE49-F238E27FC236}">
                <a16:creationId xmlns:a16="http://schemas.microsoft.com/office/drawing/2014/main" id="{2C55237C-41E9-1F17-86EC-5BBC071A16B7}"/>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9" name="Picture 8" descr="A picture containing text, person, music&#10;&#10;Description automatically generated">
            <a:extLst>
              <a:ext uri="{FF2B5EF4-FFF2-40B4-BE49-F238E27FC236}">
                <a16:creationId xmlns:a16="http://schemas.microsoft.com/office/drawing/2014/main" id="{64AD914E-61D1-7A4E-DF15-D8B919A39E4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8011620" y="3959331"/>
            <a:ext cx="4812749" cy="2926631"/>
          </a:xfrm>
          <a:prstGeom prst="rect">
            <a:avLst/>
          </a:prstGeom>
        </p:spPr>
      </p:pic>
    </p:spTree>
    <p:extLst>
      <p:ext uri="{BB962C8B-B14F-4D97-AF65-F5344CB8AC3E}">
        <p14:creationId xmlns:p14="http://schemas.microsoft.com/office/powerpoint/2010/main" val="12761544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10189397"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8" name="Text Placeholder 2">
            <a:extLst>
              <a:ext uri="{FF2B5EF4-FFF2-40B4-BE49-F238E27FC236}">
                <a16:creationId xmlns:a16="http://schemas.microsoft.com/office/drawing/2014/main" id="{55DEA185-23F8-28E0-1D0D-6F9F4C0AC931}"/>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3" name="Picture 12">
            <a:extLst>
              <a:ext uri="{FF2B5EF4-FFF2-40B4-BE49-F238E27FC236}">
                <a16:creationId xmlns:a16="http://schemas.microsoft.com/office/drawing/2014/main" id="{D1777F07-9A80-FF6F-E186-7C885CB852E7}"/>
              </a:ext>
            </a:extLst>
          </p:cNvPr>
          <p:cNvPicPr>
            <a:picLocks noChangeAspect="1"/>
          </p:cNvPicPr>
          <p:nvPr userDrawn="1"/>
        </p:nvPicPr>
        <p:blipFill>
          <a:blip r:embed="rId3"/>
          <a:stretch>
            <a:fillRect/>
          </a:stretch>
        </p:blipFill>
        <p:spPr>
          <a:xfrm>
            <a:off x="0" y="5626104"/>
            <a:ext cx="12204357" cy="1257296"/>
          </a:xfrm>
          <a:prstGeom prst="rect">
            <a:avLst/>
          </a:prstGeom>
        </p:spPr>
      </p:pic>
      <p:sp>
        <p:nvSpPr>
          <p:cNvPr id="14" name="Slide Number Placeholder 4">
            <a:extLst>
              <a:ext uri="{FF2B5EF4-FFF2-40B4-BE49-F238E27FC236}">
                <a16:creationId xmlns:a16="http://schemas.microsoft.com/office/drawing/2014/main" id="{F9DE7C04-2AC2-F0D1-5C32-6F6EF122B131}"/>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523135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7_Title and Content">
    <p:bg>
      <p:bgPr>
        <a:solidFill>
          <a:srgbClr val="E93CAD">
            <a:alpha val="10196"/>
          </a:srgbClr>
        </a:solidFill>
        <a:effectLst/>
      </p:bgPr>
    </p:bg>
    <p:spTree>
      <p:nvGrpSpPr>
        <p:cNvPr id="1" name=""/>
        <p:cNvGrpSpPr/>
        <p:nvPr/>
      </p:nvGrpSpPr>
      <p:grpSpPr>
        <a:xfrm>
          <a:off x="0" y="0"/>
          <a:ext cx="0" cy="0"/>
          <a:chOff x="0" y="0"/>
          <a:chExt cx="0" cy="0"/>
        </a:xfrm>
      </p:grpSpPr>
      <p:pic>
        <p:nvPicPr>
          <p:cNvPr id="8" name="Picture 7" descr="A picture containing flower, plant, colorful&#10;&#10;Description automatically generated">
            <a:extLst>
              <a:ext uri="{FF2B5EF4-FFF2-40B4-BE49-F238E27FC236}">
                <a16:creationId xmlns:a16="http://schemas.microsoft.com/office/drawing/2014/main" id="{0CE4B5A9-3250-F1F6-C82B-5EA310FF9D3F}"/>
              </a:ext>
            </a:extLst>
          </p:cNvPr>
          <p:cNvPicPr>
            <a:picLocks noChangeAspect="1"/>
          </p:cNvPicPr>
          <p:nvPr userDrawn="1"/>
        </p:nvPicPr>
        <p:blipFill>
          <a:blip r:embed="rId2" cstate="print">
            <a:alphaModFix amt="16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58500" y="208280"/>
            <a:ext cx="1165225" cy="229514"/>
          </a:xfrm>
          <a:prstGeom prst="rect">
            <a:avLst/>
          </a:prstGeom>
        </p:spPr>
      </p:pic>
      <p:sp>
        <p:nvSpPr>
          <p:cNvPr id="14" name="Slide Number Placeholder 4">
            <a:extLst>
              <a:ext uri="{FF2B5EF4-FFF2-40B4-BE49-F238E27FC236}">
                <a16:creationId xmlns:a16="http://schemas.microsoft.com/office/drawing/2014/main" id="{581BA972-9D9E-6537-FEB7-EFA2BF478A75}"/>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10808856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2_Blank">
    <p:bg>
      <p:bgPr>
        <a:solidFill>
          <a:schemeClr val="tx2"/>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97344" y="-442497"/>
            <a:ext cx="14067532" cy="8873482"/>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A6E66DC6-8D6E-7CA0-8B2B-9B65823CCAAE}"/>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grpSp>
        <p:nvGrpSpPr>
          <p:cNvPr id="5" name="Group 4">
            <a:extLst>
              <a:ext uri="{FF2B5EF4-FFF2-40B4-BE49-F238E27FC236}">
                <a16:creationId xmlns:a16="http://schemas.microsoft.com/office/drawing/2014/main" id="{4C39051C-DC7A-E952-8564-DC61E41D3A55}"/>
              </a:ext>
            </a:extLst>
          </p:cNvPr>
          <p:cNvGrpSpPr/>
          <p:nvPr userDrawn="1"/>
        </p:nvGrpSpPr>
        <p:grpSpPr>
          <a:xfrm>
            <a:off x="194660" y="-97713"/>
            <a:ext cx="11817753" cy="6538945"/>
            <a:chOff x="194660" y="-97713"/>
            <a:chExt cx="11817753" cy="6538945"/>
          </a:xfrm>
          <a:solidFill>
            <a:schemeClr val="tx2">
              <a:lumMod val="20000"/>
              <a:lumOff val="80000"/>
              <a:alpha val="46000"/>
            </a:schemeClr>
          </a:solidFill>
        </p:grpSpPr>
        <p:grpSp>
          <p:nvGrpSpPr>
            <p:cNvPr id="8" name="Group 7">
              <a:extLst>
                <a:ext uri="{FF2B5EF4-FFF2-40B4-BE49-F238E27FC236}">
                  <a16:creationId xmlns:a16="http://schemas.microsoft.com/office/drawing/2014/main" id="{C66C1847-A982-2358-9C9C-8F2D4A2B444D}"/>
                </a:ext>
              </a:extLst>
            </p:cNvPr>
            <p:cNvGrpSpPr/>
            <p:nvPr/>
          </p:nvGrpSpPr>
          <p:grpSpPr>
            <a:xfrm>
              <a:off x="194660" y="-97713"/>
              <a:ext cx="11817753" cy="6538945"/>
              <a:chOff x="194660" y="-97713"/>
              <a:chExt cx="11817753" cy="6538945"/>
            </a:xfrm>
            <a:grpFill/>
          </p:grpSpPr>
          <p:pic>
            <p:nvPicPr>
              <p:cNvPr id="12" name="Graphic 11">
                <a:extLst>
                  <a:ext uri="{FF2B5EF4-FFF2-40B4-BE49-F238E27FC236}">
                    <a16:creationId xmlns:a16="http://schemas.microsoft.com/office/drawing/2014/main" id="{2C33B179-F363-3AFA-4278-37BF7A262418}"/>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616010" y="5663725"/>
                <a:ext cx="350591" cy="590593"/>
              </a:xfrm>
              <a:prstGeom prst="rect">
                <a:avLst/>
              </a:prstGeom>
            </p:spPr>
          </p:pic>
          <p:pic>
            <p:nvPicPr>
              <p:cNvPr id="13" name="Graphic 12">
                <a:extLst>
                  <a:ext uri="{FF2B5EF4-FFF2-40B4-BE49-F238E27FC236}">
                    <a16:creationId xmlns:a16="http://schemas.microsoft.com/office/drawing/2014/main" id="{AA4E06B6-0500-5D62-8CF2-783B41FF540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1156874" y="2889010"/>
                <a:ext cx="315049" cy="530720"/>
              </a:xfrm>
              <a:prstGeom prst="rect">
                <a:avLst/>
              </a:prstGeom>
            </p:spPr>
          </p:pic>
          <p:pic>
            <p:nvPicPr>
              <p:cNvPr id="14" name="Graphic 13">
                <a:extLst>
                  <a:ext uri="{FF2B5EF4-FFF2-40B4-BE49-F238E27FC236}">
                    <a16:creationId xmlns:a16="http://schemas.microsoft.com/office/drawing/2014/main" id="{47207ADF-926D-B0FB-1877-9DE2F297F60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1182071" y="2623329"/>
                <a:ext cx="193708" cy="326313"/>
              </a:xfrm>
              <a:prstGeom prst="rect">
                <a:avLst/>
              </a:prstGeom>
            </p:spPr>
          </p:pic>
          <p:pic>
            <p:nvPicPr>
              <p:cNvPr id="15" name="Graphic 14">
                <a:extLst>
                  <a:ext uri="{FF2B5EF4-FFF2-40B4-BE49-F238E27FC236}">
                    <a16:creationId xmlns:a16="http://schemas.microsoft.com/office/drawing/2014/main" id="{AA1CE4A6-8D32-443F-EF7A-619545B6A30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897313" y="1482566"/>
                <a:ext cx="401098" cy="509441"/>
              </a:xfrm>
              <a:prstGeom prst="rect">
                <a:avLst/>
              </a:prstGeom>
            </p:spPr>
          </p:pic>
          <p:pic>
            <p:nvPicPr>
              <p:cNvPr id="16" name="Graphic 15">
                <a:extLst>
                  <a:ext uri="{FF2B5EF4-FFF2-40B4-BE49-F238E27FC236}">
                    <a16:creationId xmlns:a16="http://schemas.microsoft.com/office/drawing/2014/main" id="{EAA4A50F-4A72-BBDC-2E81-36EE8DF4D2B4}"/>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697750" y="1338150"/>
                <a:ext cx="271514" cy="344854"/>
              </a:xfrm>
              <a:prstGeom prst="rect">
                <a:avLst/>
              </a:prstGeom>
            </p:spPr>
          </p:pic>
          <p:pic>
            <p:nvPicPr>
              <p:cNvPr id="17" name="Graphic 16">
                <a:extLst>
                  <a:ext uri="{FF2B5EF4-FFF2-40B4-BE49-F238E27FC236}">
                    <a16:creationId xmlns:a16="http://schemas.microsoft.com/office/drawing/2014/main" id="{1C1A8E3E-F91C-B09F-9491-26D2C58C4C3B}"/>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799395" y="5413576"/>
                <a:ext cx="289959" cy="368281"/>
              </a:xfrm>
              <a:prstGeom prst="rect">
                <a:avLst/>
              </a:prstGeom>
            </p:spPr>
          </p:pic>
          <p:pic>
            <p:nvPicPr>
              <p:cNvPr id="18" name="Graphic 17">
                <a:extLst>
                  <a:ext uri="{FF2B5EF4-FFF2-40B4-BE49-F238E27FC236}">
                    <a16:creationId xmlns:a16="http://schemas.microsoft.com/office/drawing/2014/main" id="{76F51463-67BF-9918-E7C1-0B57F8D56B2C}"/>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563926" y="5223554"/>
                <a:ext cx="196281" cy="249299"/>
              </a:xfrm>
              <a:prstGeom prst="rect">
                <a:avLst/>
              </a:prstGeom>
            </p:spPr>
          </p:pic>
          <p:pic>
            <p:nvPicPr>
              <p:cNvPr id="19" name="Graphic 18">
                <a:extLst>
                  <a:ext uri="{FF2B5EF4-FFF2-40B4-BE49-F238E27FC236}">
                    <a16:creationId xmlns:a16="http://schemas.microsoft.com/office/drawing/2014/main" id="{DDDAB140-914E-028D-E512-76ED57CDDC64}"/>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706991" y="3973150"/>
                <a:ext cx="289959" cy="368281"/>
              </a:xfrm>
              <a:prstGeom prst="rect">
                <a:avLst/>
              </a:prstGeom>
            </p:spPr>
          </p:pic>
          <p:pic>
            <p:nvPicPr>
              <p:cNvPr id="20" name="Graphic 19">
                <a:extLst>
                  <a:ext uri="{FF2B5EF4-FFF2-40B4-BE49-F238E27FC236}">
                    <a16:creationId xmlns:a16="http://schemas.microsoft.com/office/drawing/2014/main" id="{C7FB9849-901E-31E2-E5AF-0D0A724E07D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471522" y="3783128"/>
                <a:ext cx="196281" cy="249299"/>
              </a:xfrm>
              <a:prstGeom prst="rect">
                <a:avLst/>
              </a:prstGeom>
            </p:spPr>
          </p:pic>
          <p:pic>
            <p:nvPicPr>
              <p:cNvPr id="21" name="Graphic 20">
                <a:extLst>
                  <a:ext uri="{FF2B5EF4-FFF2-40B4-BE49-F238E27FC236}">
                    <a16:creationId xmlns:a16="http://schemas.microsoft.com/office/drawing/2014/main" id="{6253D87B-692B-A8D7-766D-0B5EFFD7C32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1722454" y="769763"/>
                <a:ext cx="289959" cy="368281"/>
              </a:xfrm>
              <a:prstGeom prst="rect">
                <a:avLst/>
              </a:prstGeom>
            </p:spPr>
          </p:pic>
          <p:pic>
            <p:nvPicPr>
              <p:cNvPr id="22" name="Graphic 21">
                <a:extLst>
                  <a:ext uri="{FF2B5EF4-FFF2-40B4-BE49-F238E27FC236}">
                    <a16:creationId xmlns:a16="http://schemas.microsoft.com/office/drawing/2014/main" id="{0B433EF9-1834-0808-C975-5EFCD6BEBC8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1486985" y="579741"/>
                <a:ext cx="196281" cy="249299"/>
              </a:xfrm>
              <a:prstGeom prst="rect">
                <a:avLst/>
              </a:prstGeom>
            </p:spPr>
          </p:pic>
          <p:pic>
            <p:nvPicPr>
              <p:cNvPr id="23" name="Graphic 22">
                <a:extLst>
                  <a:ext uri="{FF2B5EF4-FFF2-40B4-BE49-F238E27FC236}">
                    <a16:creationId xmlns:a16="http://schemas.microsoft.com/office/drawing/2014/main" id="{EC1DE740-10F7-A493-2CC3-165E9DDDDA8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94660" y="167968"/>
                <a:ext cx="315049" cy="530720"/>
              </a:xfrm>
              <a:prstGeom prst="rect">
                <a:avLst/>
              </a:prstGeom>
            </p:spPr>
          </p:pic>
          <p:pic>
            <p:nvPicPr>
              <p:cNvPr id="24" name="Graphic 23">
                <a:extLst>
                  <a:ext uri="{FF2B5EF4-FFF2-40B4-BE49-F238E27FC236}">
                    <a16:creationId xmlns:a16="http://schemas.microsoft.com/office/drawing/2014/main" id="{84E6568B-0786-0960-391D-84809792A439}"/>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219857" y="-97713"/>
                <a:ext cx="193708" cy="326313"/>
              </a:xfrm>
              <a:prstGeom prst="rect">
                <a:avLst/>
              </a:prstGeom>
            </p:spPr>
          </p:pic>
          <p:pic>
            <p:nvPicPr>
              <p:cNvPr id="25" name="Graphic 24">
                <a:extLst>
                  <a:ext uri="{FF2B5EF4-FFF2-40B4-BE49-F238E27FC236}">
                    <a16:creationId xmlns:a16="http://schemas.microsoft.com/office/drawing/2014/main" id="{3FA720E7-988D-59FF-08D1-3539DB85A53F}"/>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1644661" y="5910512"/>
                <a:ext cx="315049" cy="530720"/>
              </a:xfrm>
              <a:prstGeom prst="rect">
                <a:avLst/>
              </a:prstGeom>
            </p:spPr>
          </p:pic>
          <p:pic>
            <p:nvPicPr>
              <p:cNvPr id="26" name="Graphic 25">
                <a:extLst>
                  <a:ext uri="{FF2B5EF4-FFF2-40B4-BE49-F238E27FC236}">
                    <a16:creationId xmlns:a16="http://schemas.microsoft.com/office/drawing/2014/main" id="{A49B62B7-957E-6F23-A60B-0997C1D7CE07}"/>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1669858" y="5644831"/>
                <a:ext cx="193708" cy="326313"/>
              </a:xfrm>
              <a:prstGeom prst="rect">
                <a:avLst/>
              </a:prstGeom>
            </p:spPr>
          </p:pic>
        </p:grpSp>
        <p:grpSp>
          <p:nvGrpSpPr>
            <p:cNvPr id="9" name="Group 8">
              <a:extLst>
                <a:ext uri="{FF2B5EF4-FFF2-40B4-BE49-F238E27FC236}">
                  <a16:creationId xmlns:a16="http://schemas.microsoft.com/office/drawing/2014/main" id="{58AE0B81-32E5-4A13-CB99-6C9E7B6F531E}"/>
                </a:ext>
              </a:extLst>
            </p:cNvPr>
            <p:cNvGrpSpPr/>
            <p:nvPr/>
          </p:nvGrpSpPr>
          <p:grpSpPr>
            <a:xfrm>
              <a:off x="1251633" y="1657160"/>
              <a:ext cx="538736" cy="383333"/>
              <a:chOff x="1251633" y="1657160"/>
              <a:chExt cx="538736" cy="383333"/>
            </a:xfrm>
            <a:grpFill/>
          </p:grpSpPr>
          <p:pic>
            <p:nvPicPr>
              <p:cNvPr id="10" name="Graphic 9">
                <a:extLst>
                  <a:ext uri="{FF2B5EF4-FFF2-40B4-BE49-F238E27FC236}">
                    <a16:creationId xmlns:a16="http://schemas.microsoft.com/office/drawing/2014/main" id="{571604CD-4C5D-C1CE-2A92-7D537F8746E0}"/>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251633" y="1657160"/>
                <a:ext cx="289959" cy="368281"/>
              </a:xfrm>
              <a:prstGeom prst="rect">
                <a:avLst/>
              </a:prstGeom>
            </p:spPr>
          </p:pic>
          <p:pic>
            <p:nvPicPr>
              <p:cNvPr id="11" name="Graphic 10">
                <a:extLst>
                  <a:ext uri="{FF2B5EF4-FFF2-40B4-BE49-F238E27FC236}">
                    <a16:creationId xmlns:a16="http://schemas.microsoft.com/office/drawing/2014/main" id="{41E6EA3D-6AE8-D3E1-464B-C3A28834ADE2}"/>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1594088" y="1791194"/>
                <a:ext cx="196281" cy="249299"/>
              </a:xfrm>
              <a:prstGeom prst="rect">
                <a:avLst/>
              </a:prstGeom>
            </p:spPr>
          </p:pic>
        </p:grpSp>
      </p:grpSp>
      <p:pic>
        <p:nvPicPr>
          <p:cNvPr id="29" name="Graphic 28">
            <a:extLst>
              <a:ext uri="{FF2B5EF4-FFF2-40B4-BE49-F238E27FC236}">
                <a16:creationId xmlns:a16="http://schemas.microsoft.com/office/drawing/2014/main" id="{60E6138B-E4B5-9A22-D232-FDD2B4254CE0}"/>
              </a:ext>
            </a:extLst>
          </p:cNvPr>
          <p:cNvPicPr>
            <a:picLocks noChangeAspect="1"/>
          </p:cNvPicPr>
          <p:nvPr userDrawn="1"/>
        </p:nvPicPr>
        <p:blipFill>
          <a:blip r:embed="rId10">
            <a:extLst>
              <a:ext uri="{96DAC541-7B7A-43D3-8B79-37D633B846F1}">
                <asvg:svgBlip xmlns="" xmlns:asvg="http://schemas.microsoft.com/office/drawing/2016/SVG/main" r:embed="rId11"/>
              </a:ext>
            </a:extLst>
          </a:blip>
          <a:stretch>
            <a:fillRect/>
          </a:stretch>
        </p:blipFill>
        <p:spPr>
          <a:xfrm rot="18212474">
            <a:off x="-103921" y="4026713"/>
            <a:ext cx="1936952" cy="1295156"/>
          </a:xfrm>
          <a:prstGeom prst="rect">
            <a:avLst/>
          </a:prstGeom>
          <a:effectLst>
            <a:outerShdw blurRad="50800" dist="38100" dir="2700000" algn="tl" rotWithShape="0">
              <a:prstClr val="black">
                <a:alpha val="40000"/>
              </a:prstClr>
            </a:outerShdw>
          </a:effectLst>
        </p:spPr>
      </p:pic>
      <p:pic>
        <p:nvPicPr>
          <p:cNvPr id="30" name="Graphic 29">
            <a:extLst>
              <a:ext uri="{FF2B5EF4-FFF2-40B4-BE49-F238E27FC236}">
                <a16:creationId xmlns:a16="http://schemas.microsoft.com/office/drawing/2014/main" id="{67A6BD5A-606F-924E-5D49-FA10154BF472}"/>
              </a:ext>
            </a:extLst>
          </p:cNvPr>
          <p:cNvPicPr>
            <a:picLocks noChangeAspect="1"/>
          </p:cNvPicPr>
          <p:nvPr userDrawn="1"/>
        </p:nvPicPr>
        <p:blipFill>
          <a:blip r:embed="rId12">
            <a:extLst>
              <a:ext uri="{96DAC541-7B7A-43D3-8B79-37D633B846F1}">
                <asvg:svgBlip xmlns="" xmlns:asvg="http://schemas.microsoft.com/office/drawing/2016/SVG/main" r:embed="rId13"/>
              </a:ext>
            </a:extLst>
          </a:blip>
          <a:stretch>
            <a:fillRect/>
          </a:stretch>
        </p:blipFill>
        <p:spPr>
          <a:xfrm rot="607305" flipH="1">
            <a:off x="10757688" y="3447398"/>
            <a:ext cx="1319922" cy="2184698"/>
          </a:xfrm>
          <a:prstGeom prst="rect">
            <a:avLst/>
          </a:prstGeom>
          <a:effectLst>
            <a:outerShdw blurRad="50800" dist="38100" dir="2700000" algn="tl" rotWithShape="0">
              <a:prstClr val="black">
                <a:alpha val="40000"/>
              </a:prstClr>
            </a:outerShdw>
          </a:effectLst>
        </p:spPr>
      </p:pic>
      <p:pic>
        <p:nvPicPr>
          <p:cNvPr id="34" name="Graphic 33">
            <a:extLst>
              <a:ext uri="{FF2B5EF4-FFF2-40B4-BE49-F238E27FC236}">
                <a16:creationId xmlns:a16="http://schemas.microsoft.com/office/drawing/2014/main" id="{2796583F-A0DF-D708-9162-7A4EEC06311D}"/>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255848" y="540610"/>
            <a:ext cx="688688" cy="640640"/>
          </a:xfrm>
          <a:prstGeom prst="rect">
            <a:avLst/>
          </a:prstGeom>
          <a:effectLst>
            <a:outerShdw blurRad="50800" dist="38100" dir="2700000" algn="tl" rotWithShape="0">
              <a:prstClr val="black">
                <a:alpha val="40000"/>
              </a:prstClr>
            </a:outerShdw>
          </a:effectLst>
        </p:spPr>
      </p:pic>
      <p:pic>
        <p:nvPicPr>
          <p:cNvPr id="35" name="Graphic 34">
            <a:extLst>
              <a:ext uri="{FF2B5EF4-FFF2-40B4-BE49-F238E27FC236}">
                <a16:creationId xmlns:a16="http://schemas.microsoft.com/office/drawing/2014/main" id="{4096BF67-FB56-9E67-7E36-41FCA542A9F5}"/>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rot="3125631">
            <a:off x="10848453" y="6213405"/>
            <a:ext cx="946418" cy="880389"/>
          </a:xfrm>
          <a:prstGeom prst="rect">
            <a:avLst/>
          </a:prstGeom>
          <a:effectLst>
            <a:outerShdw blurRad="50800" dist="38100" dir="2700000" algn="tl" rotWithShape="0">
              <a:prstClr val="black">
                <a:alpha val="40000"/>
              </a:prstClr>
            </a:outerShdw>
          </a:effectLst>
        </p:spPr>
      </p:pic>
      <p:pic>
        <p:nvPicPr>
          <p:cNvPr id="36" name="Graphic 35">
            <a:extLst>
              <a:ext uri="{FF2B5EF4-FFF2-40B4-BE49-F238E27FC236}">
                <a16:creationId xmlns:a16="http://schemas.microsoft.com/office/drawing/2014/main" id="{C9FA9E3C-7DB7-F480-CD9D-A5A9E994BE58}"/>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rot="16771890">
            <a:off x="11278674" y="1266244"/>
            <a:ext cx="688688" cy="640640"/>
          </a:xfrm>
          <a:prstGeom prst="rect">
            <a:avLst/>
          </a:prstGeom>
          <a:effectLst>
            <a:outerShdw blurRad="50800" dist="38100" dir="2700000" algn="tl" rotWithShape="0">
              <a:prstClr val="black">
                <a:alpha val="40000"/>
              </a:prstClr>
            </a:outerShdw>
          </a:effectLst>
        </p:spPr>
      </p:pic>
      <p:pic>
        <p:nvPicPr>
          <p:cNvPr id="37" name="Graphic 36">
            <a:extLst>
              <a:ext uri="{FF2B5EF4-FFF2-40B4-BE49-F238E27FC236}">
                <a16:creationId xmlns:a16="http://schemas.microsoft.com/office/drawing/2014/main" id="{92B551A2-40A8-D3E6-A001-08A127DFA8BE}"/>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rot="16850402">
            <a:off x="-35989" y="5929177"/>
            <a:ext cx="891250" cy="829070"/>
          </a:xfrm>
          <a:prstGeom prst="rect">
            <a:avLst/>
          </a:prstGeom>
          <a:effectLst>
            <a:outerShdw blurRad="50800" dist="38100" dir="2700000" algn="tl" rotWithShape="0">
              <a:prstClr val="black">
                <a:alpha val="40000"/>
              </a:prstClr>
            </a:outerShdw>
          </a:effectLst>
        </p:spPr>
      </p:pic>
      <p:pic>
        <p:nvPicPr>
          <p:cNvPr id="38" name="Graphic 37">
            <a:extLst>
              <a:ext uri="{FF2B5EF4-FFF2-40B4-BE49-F238E27FC236}">
                <a16:creationId xmlns:a16="http://schemas.microsoft.com/office/drawing/2014/main" id="{34CAFFA3-96F7-3736-F41C-9FFD1CD2A109}"/>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rot="3574693">
            <a:off x="2537690" y="1778863"/>
            <a:ext cx="542937" cy="505058"/>
          </a:xfrm>
          <a:prstGeom prst="rect">
            <a:avLst/>
          </a:prstGeom>
          <a:effectLst>
            <a:outerShdw blurRad="50800" dist="38100" dir="2700000" algn="tl" rotWithShape="0">
              <a:prstClr val="black">
                <a:alpha val="40000"/>
              </a:prstClr>
            </a:outerShdw>
          </a:effectLst>
        </p:spPr>
      </p:pic>
      <p:pic>
        <p:nvPicPr>
          <p:cNvPr id="39" name="Graphic 38">
            <a:extLst>
              <a:ext uri="{FF2B5EF4-FFF2-40B4-BE49-F238E27FC236}">
                <a16:creationId xmlns:a16="http://schemas.microsoft.com/office/drawing/2014/main" id="{93D2E772-A239-4E1D-F7EA-3EB67B4E12E8}"/>
              </a:ext>
            </a:extLst>
          </p:cNvPr>
          <p:cNvPicPr>
            <a:picLocks noChangeAspect="1"/>
          </p:cNvPicPr>
          <p:nvPr userDrawn="1"/>
        </p:nvPicPr>
        <p:blipFill>
          <a:blip r:embed="rId14" cstate="print">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rot="16850402">
            <a:off x="7485326" y="5041894"/>
            <a:ext cx="542937" cy="505058"/>
          </a:xfrm>
          <a:prstGeom prst="rect">
            <a:avLst/>
          </a:prstGeom>
          <a:effectLst>
            <a:outerShdw blurRad="50800" dist="38100" dir="2700000" algn="tl" rotWithShape="0">
              <a:prstClr val="black">
                <a:alpha val="40000"/>
              </a:prstClr>
            </a:outerShdw>
          </a:effectLst>
        </p:spPr>
      </p:pic>
      <p:sp>
        <p:nvSpPr>
          <p:cNvPr id="3" name="Picture Placeholder 2">
            <a:extLst>
              <a:ext uri="{FF2B5EF4-FFF2-40B4-BE49-F238E27FC236}">
                <a16:creationId xmlns:a16="http://schemas.microsoft.com/office/drawing/2014/main" id="{FA446E0A-60EA-0491-CEBB-A26709B5F206}"/>
              </a:ext>
            </a:extLst>
          </p:cNvPr>
          <p:cNvSpPr>
            <a:spLocks noGrp="1"/>
          </p:cNvSpPr>
          <p:nvPr>
            <p:ph type="pic" sz="quarter" idx="13"/>
          </p:nvPr>
        </p:nvSpPr>
        <p:spPr>
          <a:xfrm rot="21275217">
            <a:off x="1107342" y="1751242"/>
            <a:ext cx="4919256" cy="3253899"/>
          </a:xfrm>
          <a:prstGeom prst="roundRect">
            <a:avLst>
              <a:gd name="adj" fmla="val 8822"/>
            </a:avLst>
          </a:prstGeom>
          <a:solidFill>
            <a:schemeClr val="bg2"/>
          </a:solidFill>
          <a:ln w="63500">
            <a:solidFill>
              <a:schemeClr val="bg1"/>
            </a:solidFill>
          </a:ln>
          <a:effectLst>
            <a:outerShdw blurRad="76200" dist="63500" dir="2700000" algn="tl" rotWithShape="0">
              <a:prstClr val="black">
                <a:alpha val="30000"/>
              </a:prstClr>
            </a:outerShdw>
          </a:effectLst>
        </p:spPr>
        <p:txBody>
          <a:bodyPr/>
          <a:lstStyle/>
          <a:p>
            <a:endParaRPr lang="en-IN"/>
          </a:p>
        </p:txBody>
      </p:sp>
      <p:sp>
        <p:nvSpPr>
          <p:cNvPr id="41" name="Picture Placeholder 2">
            <a:extLst>
              <a:ext uri="{FF2B5EF4-FFF2-40B4-BE49-F238E27FC236}">
                <a16:creationId xmlns:a16="http://schemas.microsoft.com/office/drawing/2014/main" id="{A68932BF-CFF6-790A-B24D-DFF430729915}"/>
              </a:ext>
            </a:extLst>
          </p:cNvPr>
          <p:cNvSpPr>
            <a:spLocks noGrp="1"/>
          </p:cNvSpPr>
          <p:nvPr>
            <p:ph type="pic" sz="quarter" idx="14"/>
          </p:nvPr>
        </p:nvSpPr>
        <p:spPr>
          <a:xfrm>
            <a:off x="5860460" y="1989268"/>
            <a:ext cx="4919256" cy="3253899"/>
          </a:xfrm>
          <a:prstGeom prst="roundRect">
            <a:avLst>
              <a:gd name="adj" fmla="val 8822"/>
            </a:avLst>
          </a:prstGeom>
          <a:solidFill>
            <a:schemeClr val="bg2"/>
          </a:solidFill>
          <a:ln w="63500">
            <a:solidFill>
              <a:schemeClr val="bg1"/>
            </a:solidFill>
          </a:ln>
          <a:effectLst>
            <a:outerShdw blurRad="76200" dist="63500" dir="2700000" algn="tl" rotWithShape="0">
              <a:prstClr val="black">
                <a:alpha val="30000"/>
              </a:prstClr>
            </a:outerShdw>
          </a:effectLst>
        </p:spPr>
        <p:txBody>
          <a:bodyPr/>
          <a:lstStyle/>
          <a:p>
            <a:endParaRPr lang="en-IN"/>
          </a:p>
        </p:txBody>
      </p:sp>
    </p:spTree>
    <p:extLst>
      <p:ext uri="{BB962C8B-B14F-4D97-AF65-F5344CB8AC3E}">
        <p14:creationId xmlns:p14="http://schemas.microsoft.com/office/powerpoint/2010/main" val="32088475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4_Title and Content">
    <p:bg>
      <p:bgPr>
        <a:solidFill>
          <a:schemeClr val="tx2"/>
        </a:solidFill>
        <a:effectLst/>
      </p:bgPr>
    </p:bg>
    <p:spTree>
      <p:nvGrpSpPr>
        <p:cNvPr id="1" name=""/>
        <p:cNvGrpSpPr/>
        <p:nvPr/>
      </p:nvGrpSpPr>
      <p:grpSpPr>
        <a:xfrm>
          <a:off x="0" y="0"/>
          <a:ext cx="0" cy="0"/>
          <a:chOff x="0" y="0"/>
          <a:chExt cx="0" cy="0"/>
        </a:xfrm>
      </p:grpSpPr>
      <p:pic>
        <p:nvPicPr>
          <p:cNvPr id="13" name="Picture 12" descr="A picture containing outdoor, sky, day&#10;&#10;Description automatically generated">
            <a:extLst>
              <a:ext uri="{FF2B5EF4-FFF2-40B4-BE49-F238E27FC236}">
                <a16:creationId xmlns:a16="http://schemas.microsoft.com/office/drawing/2014/main" id="{312C01A4-1B8C-73ED-7E90-215F6755DBA1}"/>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grpSp>
        <p:nvGrpSpPr>
          <p:cNvPr id="18" name="Group 17">
            <a:extLst>
              <a:ext uri="{FF2B5EF4-FFF2-40B4-BE49-F238E27FC236}">
                <a16:creationId xmlns:a16="http://schemas.microsoft.com/office/drawing/2014/main" id="{AE4E44AC-C5A0-CDE5-BA11-C62ED84EC53D}"/>
              </a:ext>
            </a:extLst>
          </p:cNvPr>
          <p:cNvGrpSpPr/>
          <p:nvPr userDrawn="1"/>
        </p:nvGrpSpPr>
        <p:grpSpPr>
          <a:xfrm>
            <a:off x="0" y="6747328"/>
            <a:ext cx="12192000" cy="139700"/>
            <a:chOff x="0" y="6747328"/>
            <a:chExt cx="12192000" cy="139700"/>
          </a:xfrm>
        </p:grpSpPr>
        <p:sp>
          <p:nvSpPr>
            <p:cNvPr id="19" name="Freeform: Shape 18">
              <a:extLst>
                <a:ext uri="{FF2B5EF4-FFF2-40B4-BE49-F238E27FC236}">
                  <a16:creationId xmlns:a16="http://schemas.microsoft.com/office/drawing/2014/main" id="{88893DB3-8C2A-2C7D-2E54-C34E31D4FEA7}"/>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0" name="Freeform: Shape 19">
              <a:extLst>
                <a:ext uri="{FF2B5EF4-FFF2-40B4-BE49-F238E27FC236}">
                  <a16:creationId xmlns:a16="http://schemas.microsoft.com/office/drawing/2014/main" id="{CAAAEA43-67BB-93B6-27A8-DFDB57DF5B2C}"/>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1" name="Freeform: Shape 20">
              <a:extLst>
                <a:ext uri="{FF2B5EF4-FFF2-40B4-BE49-F238E27FC236}">
                  <a16:creationId xmlns:a16="http://schemas.microsoft.com/office/drawing/2014/main" id="{940DBD36-A2AA-87B8-EB16-1696D5D1D31B}"/>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2" name="Freeform: Shape 21">
              <a:extLst>
                <a:ext uri="{FF2B5EF4-FFF2-40B4-BE49-F238E27FC236}">
                  <a16:creationId xmlns:a16="http://schemas.microsoft.com/office/drawing/2014/main" id="{C9011283-516D-F554-D4AE-069228DAEB3A}"/>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3" name="Freeform: Shape 22">
              <a:extLst>
                <a:ext uri="{FF2B5EF4-FFF2-40B4-BE49-F238E27FC236}">
                  <a16:creationId xmlns:a16="http://schemas.microsoft.com/office/drawing/2014/main" id="{74A06651-9129-6FCB-C620-E426856E2B8F}"/>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4" name="Freeform: Shape 23">
              <a:extLst>
                <a:ext uri="{FF2B5EF4-FFF2-40B4-BE49-F238E27FC236}">
                  <a16:creationId xmlns:a16="http://schemas.microsoft.com/office/drawing/2014/main" id="{BB9EC811-11C4-1122-0B83-212374BAA474}"/>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25" name="Freeform: Shape 24">
              <a:extLst>
                <a:ext uri="{FF2B5EF4-FFF2-40B4-BE49-F238E27FC236}">
                  <a16:creationId xmlns:a16="http://schemas.microsoft.com/office/drawing/2014/main" id="{A6535F8E-D612-9BE3-6A2C-8B0DC62327CC}"/>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4" cstate="print">
            <a:biLevel thresh="25000"/>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14" name="Slide Number Placeholder 4">
            <a:extLst>
              <a:ext uri="{FF2B5EF4-FFF2-40B4-BE49-F238E27FC236}">
                <a16:creationId xmlns:a16="http://schemas.microsoft.com/office/drawing/2014/main" id="{581BA972-9D9E-6537-FEB7-EFA2BF478A75}"/>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14502471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8_Title and Content">
    <p:bg>
      <p:bgPr>
        <a:solidFill>
          <a:schemeClr val="tx2"/>
        </a:solidFill>
        <a:effectLst/>
      </p:bgPr>
    </p:bg>
    <p:spTree>
      <p:nvGrpSpPr>
        <p:cNvPr id="1" name=""/>
        <p:cNvGrpSpPr/>
        <p:nvPr/>
      </p:nvGrpSpPr>
      <p:grpSpPr>
        <a:xfrm>
          <a:off x="0" y="0"/>
          <a:ext cx="0" cy="0"/>
          <a:chOff x="0" y="0"/>
          <a:chExt cx="0" cy="0"/>
        </a:xfrm>
      </p:grpSpPr>
      <p:pic>
        <p:nvPicPr>
          <p:cNvPr id="13" name="Picture 12" descr="A picture containing outdoor, sky, day&#10;&#10;Description automatically generated">
            <a:extLst>
              <a:ext uri="{FF2B5EF4-FFF2-40B4-BE49-F238E27FC236}">
                <a16:creationId xmlns:a16="http://schemas.microsoft.com/office/drawing/2014/main" id="{312C01A4-1B8C-73ED-7E90-215F6755DBA1}"/>
              </a:ext>
            </a:extLst>
          </p:cNvPr>
          <p:cNvPicPr>
            <a:picLocks noChangeAspect="1"/>
          </p:cNvPicPr>
          <p:nvPr userDrawn="1"/>
        </p:nvPicPr>
        <p:blipFill rotWithShape="1">
          <a:blip r:embed="rId2">
            <a:biLevel thresh="25000"/>
            <a:alphaModFix amt="4000"/>
            <a:extLst>
              <a:ext uri="{BEBA8EAE-BF5A-486C-A8C5-ECC9F3942E4B}">
                <a14:imgProps xmlns:a14="http://schemas.microsoft.com/office/drawing/2010/main">
                  <a14:imgLayer r:embed="rId3">
                    <a14:imgEffect>
                      <a14:saturation sat="0"/>
                    </a14:imgEffect>
                    <a14:imgEffect>
                      <a14:brightnessContrast bright="-30000" contrast="100000"/>
                    </a14:imgEffect>
                  </a14:imgLayer>
                </a14:imgProps>
              </a:ext>
              <a:ext uri="{28A0092B-C50C-407E-A947-70E740481C1C}">
                <a14:useLocalDpi xmlns:a14="http://schemas.microsoft.com/office/drawing/2010/main"/>
              </a:ext>
            </a:extLst>
          </a:blip>
          <a:srcRect l="11315"/>
          <a:stretch/>
        </p:blipFill>
        <p:spPr>
          <a:xfrm rot="16200000">
            <a:off x="2667000" y="-2666999"/>
            <a:ext cx="6858001" cy="12192000"/>
          </a:xfrm>
          <a:prstGeom prst="rect">
            <a:avLst/>
          </a:prstGeom>
        </p:spPr>
      </p:pic>
      <p:pic>
        <p:nvPicPr>
          <p:cNvPr id="10" name="Picture 9">
            <a:extLst>
              <a:ext uri="{FF2B5EF4-FFF2-40B4-BE49-F238E27FC236}">
                <a16:creationId xmlns:a16="http://schemas.microsoft.com/office/drawing/2014/main" id="{4142B728-8D79-F793-F870-EA23E9445EF8}"/>
              </a:ext>
            </a:extLst>
          </p:cNvPr>
          <p:cNvPicPr>
            <a:picLocks noChangeAspect="1"/>
          </p:cNvPicPr>
          <p:nvPr userDrawn="1"/>
        </p:nvPicPr>
        <p:blipFill>
          <a:blip r:embed="rId4"/>
          <a:stretch>
            <a:fillRect/>
          </a:stretch>
        </p:blipFill>
        <p:spPr>
          <a:xfrm>
            <a:off x="0" y="5626104"/>
            <a:ext cx="12204357" cy="1257296"/>
          </a:xfrm>
          <a:prstGeom prst="rect">
            <a:avLst/>
          </a:prstGeom>
        </p:spPr>
      </p:pic>
      <p:sp>
        <p:nvSpPr>
          <p:cNvPr id="11" name="Slide Number Placeholder 4">
            <a:extLst>
              <a:ext uri="{FF2B5EF4-FFF2-40B4-BE49-F238E27FC236}">
                <a16:creationId xmlns:a16="http://schemas.microsoft.com/office/drawing/2014/main" id="{E823F865-DD60-C223-3790-3796E5B0580C}"/>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5" cstate="print">
            <a:biLevel thresh="25000"/>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Tree>
    <p:extLst>
      <p:ext uri="{BB962C8B-B14F-4D97-AF65-F5344CB8AC3E}">
        <p14:creationId xmlns:p14="http://schemas.microsoft.com/office/powerpoint/2010/main" val="28006398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96A35B37-C842-4852-980B-C663544714FE}" type="datetimeFigureOut">
              <a:rPr lang="en-US" smtClean="0"/>
              <a:t>1/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31977528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28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28" name="Slide Number Placeholder 4">
            <a:extLst>
              <a:ext uri="{FF2B5EF4-FFF2-40B4-BE49-F238E27FC236}">
                <a16:creationId xmlns:a16="http://schemas.microsoft.com/office/drawing/2014/main" id="{5A1BC366-3D62-A963-1996-6DB54824AA3D}"/>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400">
                <a:solidFill>
                  <a:schemeClr val="tx1">
                    <a:lumMod val="50000"/>
                    <a:lumOff val="50000"/>
                  </a:schemeClr>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25701704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98100" y="226295"/>
            <a:ext cx="1816100" cy="357717"/>
          </a:xfrm>
          <a:prstGeom prst="rect">
            <a:avLst/>
          </a:prstGeom>
        </p:spPr>
      </p:pic>
      <p:sp>
        <p:nvSpPr>
          <p:cNvPr id="9"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400">
                <a:solidFill>
                  <a:schemeClr val="tx1">
                    <a:lumMod val="50000"/>
                    <a:lumOff val="50000"/>
                  </a:schemeClr>
                </a:solidFill>
              </a:defRPr>
            </a:lvl1pPr>
          </a:lstStyle>
          <a:p>
            <a:fld id="{8C1CC9D4-B77B-4D62-AC93-E2BD36A15066}" type="slidenum">
              <a:rPr lang="en-IN" smtClean="0"/>
              <a:pPr/>
              <a:t>‹#›</a:t>
            </a:fld>
            <a:endParaRPr lang="en-IN"/>
          </a:p>
        </p:txBody>
      </p:sp>
      <p:pic>
        <p:nvPicPr>
          <p:cNvPr id="10" name="Graphic 9">
            <a:extLst>
              <a:ext uri="{FF2B5EF4-FFF2-40B4-BE49-F238E27FC236}">
                <a16:creationId xmlns:a16="http://schemas.microsoft.com/office/drawing/2014/main" id="{15584830-0FEB-64EC-E5B6-ECB22E207204}"/>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211138" y="6490784"/>
            <a:ext cx="1014412" cy="138616"/>
          </a:xfrm>
          <a:prstGeom prst="rect">
            <a:avLst/>
          </a:prstGeom>
        </p:spPr>
      </p:pic>
    </p:spTree>
    <p:extLst>
      <p:ext uri="{BB962C8B-B14F-4D97-AF65-F5344CB8AC3E}">
        <p14:creationId xmlns:p14="http://schemas.microsoft.com/office/powerpoint/2010/main" val="9775896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sp>
        <p:nvSpPr>
          <p:cNvPr id="4"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9829801" cy="561975"/>
          </a:xfrm>
          <a:prstGeom prst="rect">
            <a:avLst/>
          </a:prstGeom>
        </p:spPr>
        <p:txBody>
          <a:bodyPr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6" name="Footer Placeholder 3">
            <a:extLst>
              <a:ext uri="{FF2B5EF4-FFF2-40B4-BE49-F238E27FC236}">
                <a16:creationId xmlns:a16="http://schemas.microsoft.com/office/drawing/2014/main" id="{FB045EE0-C837-45B1-9822-D74D9C93FC6F}"/>
              </a:ext>
            </a:extLst>
          </p:cNvPr>
          <p:cNvSpPr>
            <a:spLocks noGrp="1"/>
          </p:cNvSpPr>
          <p:nvPr>
            <p:ph type="ftr" sz="quarter" idx="11"/>
          </p:nvPr>
        </p:nvSpPr>
        <p:spPr>
          <a:xfrm>
            <a:off x="4038956" y="6459535"/>
            <a:ext cx="4114800" cy="322265"/>
          </a:xfrm>
          <a:prstGeom prst="rect">
            <a:avLst/>
          </a:prstGeom>
        </p:spPr>
        <p:txBody>
          <a:bodyPr/>
          <a:lstStyle/>
          <a:p>
            <a:endParaRPr lang="en-IN"/>
          </a:p>
        </p:txBody>
      </p:sp>
      <p:sp>
        <p:nvSpPr>
          <p:cNvPr id="8"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9220200" y="6459535"/>
            <a:ext cx="2743200" cy="322265"/>
          </a:xfrm>
          <a:prstGeom prst="rect">
            <a:avLst/>
          </a:prstGeom>
        </p:spPr>
        <p:txBody>
          <a:bodyPr/>
          <a:lstStyle/>
          <a:p>
            <a:fld id="{8C1CC9D4-B77B-4D62-AC93-E2BD36A15066}" type="slidenum">
              <a:rPr lang="en-IN" smtClean="0"/>
              <a:t>‹#›</a:t>
            </a:fld>
            <a:endParaRPr lang="en-IN"/>
          </a:p>
        </p:txBody>
      </p:sp>
    </p:spTree>
    <p:extLst>
      <p:ext uri="{BB962C8B-B14F-4D97-AF65-F5344CB8AC3E}">
        <p14:creationId xmlns:p14="http://schemas.microsoft.com/office/powerpoint/2010/main" val="24925348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24">
            <a:extLst>
              <a:ext uri="{FF2B5EF4-FFF2-40B4-BE49-F238E27FC236}">
                <a16:creationId xmlns:a16="http://schemas.microsoft.com/office/drawing/2014/main" id="{FCDFF8D3-FE8D-4B28-A99E-9195911C9EC6}"/>
              </a:ext>
            </a:extLst>
          </p:cNvPr>
          <p:cNvSpPr/>
          <p:nvPr userDrawn="1"/>
        </p:nvSpPr>
        <p:spPr>
          <a:xfrm flipH="1">
            <a:off x="9565339" y="0"/>
            <a:ext cx="2626659" cy="2626659"/>
          </a:xfrm>
          <a:custGeom>
            <a:avLst/>
            <a:gdLst>
              <a:gd name="connsiteX0" fmla="*/ 0 w 2626659"/>
              <a:gd name="connsiteY0" fmla="*/ 0 h 2626659"/>
              <a:gd name="connsiteX1" fmla="*/ 2626659 w 2626659"/>
              <a:gd name="connsiteY1" fmla="*/ 0 h 2626659"/>
              <a:gd name="connsiteX2" fmla="*/ 2626659 w 2626659"/>
              <a:gd name="connsiteY2" fmla="*/ 2626659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659" h="2626659">
                <a:moveTo>
                  <a:pt x="0" y="0"/>
                </a:moveTo>
                <a:lnTo>
                  <a:pt x="2626659" y="0"/>
                </a:lnTo>
                <a:cubicBezTo>
                  <a:pt x="2226235" y="340659"/>
                  <a:pt x="2300941" y="833718"/>
                  <a:pt x="1425388" y="1021977"/>
                </a:cubicBezTo>
                <a:cubicBezTo>
                  <a:pt x="-134470" y="1458259"/>
                  <a:pt x="475129" y="2091765"/>
                  <a:pt x="0" y="2626659"/>
                </a:cubicBezTo>
                <a:lnTo>
                  <a:pt x="0" y="0"/>
                </a:lnTo>
                <a:close/>
              </a:path>
            </a:pathLst>
          </a:custGeom>
          <a:solidFill>
            <a:srgbClr val="008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7248FCD2-187F-4369-A26A-3BE5B030E1DB}"/>
              </a:ext>
            </a:extLst>
          </p:cNvPr>
          <p:cNvPicPr>
            <a:picLocks noChangeAspect="1"/>
          </p:cNvPicPr>
          <p:nvPr userDrawn="1"/>
        </p:nvPicPr>
        <p:blipFill>
          <a:blip r:embed="rId2"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14" name="Picture 13">
            <a:extLst>
              <a:ext uri="{FF2B5EF4-FFF2-40B4-BE49-F238E27FC236}">
                <a16:creationId xmlns:a16="http://schemas.microsoft.com/office/drawing/2014/main" id="{141F3328-C158-4EBF-B0DA-FBBBDFDE580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20071" y="6298589"/>
            <a:ext cx="1175232" cy="376531"/>
          </a:xfrm>
          <a:prstGeom prst="rect">
            <a:avLst/>
          </a:prstGeom>
        </p:spPr>
      </p:pic>
      <p:sp>
        <p:nvSpPr>
          <p:cNvPr id="6" name="Title 1">
            <a:extLst>
              <a:ext uri="{FF2B5EF4-FFF2-40B4-BE49-F238E27FC236}">
                <a16:creationId xmlns:a16="http://schemas.microsoft.com/office/drawing/2014/main" id="{555369F6-73E9-4589-B87C-085FF4156E26}"/>
              </a:ext>
            </a:extLst>
          </p:cNvPr>
          <p:cNvSpPr>
            <a:spLocks noGrp="1"/>
          </p:cNvSpPr>
          <p:nvPr>
            <p:ph type="title"/>
          </p:nvPr>
        </p:nvSpPr>
        <p:spPr>
          <a:xfrm>
            <a:off x="228599" y="228600"/>
            <a:ext cx="9829801" cy="561975"/>
          </a:xfrm>
          <a:prstGeom prst="rect">
            <a:avLst/>
          </a:prstGeom>
        </p:spPr>
        <p:txBody>
          <a:bodyPr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8" name="Footer Placeholder 3">
            <a:extLst>
              <a:ext uri="{FF2B5EF4-FFF2-40B4-BE49-F238E27FC236}">
                <a16:creationId xmlns:a16="http://schemas.microsoft.com/office/drawing/2014/main" id="{FB045EE0-C837-45B1-9822-D74D9C93FC6F}"/>
              </a:ext>
            </a:extLst>
          </p:cNvPr>
          <p:cNvSpPr>
            <a:spLocks noGrp="1"/>
          </p:cNvSpPr>
          <p:nvPr>
            <p:ph type="ftr" sz="quarter" idx="11"/>
          </p:nvPr>
        </p:nvSpPr>
        <p:spPr>
          <a:xfrm>
            <a:off x="4038956" y="6459535"/>
            <a:ext cx="4114800" cy="322265"/>
          </a:xfrm>
          <a:prstGeom prst="rect">
            <a:avLst/>
          </a:prstGeom>
        </p:spPr>
        <p:txBody>
          <a:bodyPr/>
          <a:lstStyle/>
          <a:p>
            <a:endParaRPr lang="en-IN"/>
          </a:p>
        </p:txBody>
      </p:sp>
      <p:sp>
        <p:nvSpPr>
          <p:cNvPr id="10"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9220200" y="6459535"/>
            <a:ext cx="2743200" cy="322265"/>
          </a:xfrm>
          <a:prstGeom prst="rect">
            <a:avLst/>
          </a:prstGeom>
        </p:spPr>
        <p:txBody>
          <a:bodyPr/>
          <a:lstStyle/>
          <a:p>
            <a:fld id="{8C1CC9D4-B77B-4D62-AC93-E2BD36A15066}" type="slidenum">
              <a:rPr lang="en-IN" smtClean="0"/>
              <a:t>‹#›</a:t>
            </a:fld>
            <a:endParaRPr lang="en-IN"/>
          </a:p>
        </p:txBody>
      </p:sp>
    </p:spTree>
    <p:extLst>
      <p:ext uri="{BB962C8B-B14F-4D97-AF65-F5344CB8AC3E}">
        <p14:creationId xmlns:p14="http://schemas.microsoft.com/office/powerpoint/2010/main" val="4211110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9" descr="Image result for empty shelf">
            <a:extLst>
              <a:ext uri="{FF2B5EF4-FFF2-40B4-BE49-F238E27FC236}">
                <a16:creationId xmlns:a16="http://schemas.microsoft.com/office/drawing/2014/main" id="{978973B0-DF34-4585-A4D3-32C0BB399EA7}"/>
              </a:ext>
            </a:extLst>
          </p:cNvPr>
          <p:cNvPicPr>
            <a:picLocks noChangeAspect="1" noChangeArrowheads="1"/>
          </p:cNvPicPr>
          <p:nvPr/>
        </p:nvPicPr>
        <p:blipFill rotWithShape="1">
          <a:blip r:embed="rId2">
            <a:duotone>
              <a:schemeClr val="accent6">
                <a:shade val="45000"/>
                <a:satMod val="135000"/>
              </a:schemeClr>
              <a:prstClr val="white"/>
            </a:duotone>
            <a:extLst>
              <a:ext uri="{28A0092B-C50C-407E-A947-70E740481C1C}">
                <a14:useLocalDpi xmlns:a14="http://schemas.microsoft.com/office/drawing/2010/main"/>
              </a:ext>
            </a:extLst>
          </a:blip>
          <a:srcRect l="3666" t="3019" r="1676" b="16509"/>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24">
            <a:extLst>
              <a:ext uri="{FF2B5EF4-FFF2-40B4-BE49-F238E27FC236}">
                <a16:creationId xmlns:a16="http://schemas.microsoft.com/office/drawing/2014/main" id="{FCDFF8D3-FE8D-4B28-A99E-9195911C9EC6}"/>
              </a:ext>
            </a:extLst>
          </p:cNvPr>
          <p:cNvSpPr/>
          <p:nvPr userDrawn="1"/>
        </p:nvSpPr>
        <p:spPr>
          <a:xfrm flipH="1">
            <a:off x="9565339" y="0"/>
            <a:ext cx="2626659" cy="2626659"/>
          </a:xfrm>
          <a:custGeom>
            <a:avLst/>
            <a:gdLst>
              <a:gd name="connsiteX0" fmla="*/ 0 w 2626659"/>
              <a:gd name="connsiteY0" fmla="*/ 0 h 2626659"/>
              <a:gd name="connsiteX1" fmla="*/ 2626659 w 2626659"/>
              <a:gd name="connsiteY1" fmla="*/ 0 h 2626659"/>
              <a:gd name="connsiteX2" fmla="*/ 2626659 w 2626659"/>
              <a:gd name="connsiteY2" fmla="*/ 2626659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 name="connsiteX0" fmla="*/ 0 w 2626659"/>
              <a:gd name="connsiteY0" fmla="*/ 0 h 2626659"/>
              <a:gd name="connsiteX1" fmla="*/ 2626659 w 2626659"/>
              <a:gd name="connsiteY1" fmla="*/ 0 h 2626659"/>
              <a:gd name="connsiteX2" fmla="*/ 1425388 w 2626659"/>
              <a:gd name="connsiteY2" fmla="*/ 1021977 h 2626659"/>
              <a:gd name="connsiteX3" fmla="*/ 0 w 2626659"/>
              <a:gd name="connsiteY3" fmla="*/ 2626659 h 2626659"/>
              <a:gd name="connsiteX4" fmla="*/ 0 w 2626659"/>
              <a:gd name="connsiteY4" fmla="*/ 0 h 2626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6659" h="2626659">
                <a:moveTo>
                  <a:pt x="0" y="0"/>
                </a:moveTo>
                <a:lnTo>
                  <a:pt x="2626659" y="0"/>
                </a:lnTo>
                <a:cubicBezTo>
                  <a:pt x="2226235" y="340659"/>
                  <a:pt x="2300941" y="833718"/>
                  <a:pt x="1425388" y="1021977"/>
                </a:cubicBezTo>
                <a:cubicBezTo>
                  <a:pt x="-134470" y="1458259"/>
                  <a:pt x="475129" y="2091765"/>
                  <a:pt x="0" y="2626659"/>
                </a:cubicBezTo>
                <a:lnTo>
                  <a:pt x="0" y="0"/>
                </a:lnTo>
                <a:close/>
              </a:path>
            </a:pathLst>
          </a:custGeom>
          <a:solidFill>
            <a:srgbClr val="0082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itle 1">
            <a:extLst>
              <a:ext uri="{FF2B5EF4-FFF2-40B4-BE49-F238E27FC236}">
                <a16:creationId xmlns:a16="http://schemas.microsoft.com/office/drawing/2014/main" id="{555369F6-73E9-4589-B87C-085FF4156E26}"/>
              </a:ext>
            </a:extLst>
          </p:cNvPr>
          <p:cNvSpPr>
            <a:spLocks noGrp="1"/>
          </p:cNvSpPr>
          <p:nvPr>
            <p:ph type="title"/>
          </p:nvPr>
        </p:nvSpPr>
        <p:spPr>
          <a:xfrm>
            <a:off x="345139" y="228600"/>
            <a:ext cx="9220200" cy="561975"/>
          </a:xfrm>
          <a:prstGeom prst="rect">
            <a:avLst/>
          </a:prstGeom>
        </p:spPr>
        <p:txBody>
          <a:bodyPr anchor="t">
            <a:noAutofit/>
          </a:bodyPr>
          <a:lstStyle>
            <a:lvl1pPr>
              <a:defRPr lang="en-US" sz="32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pic>
        <p:nvPicPr>
          <p:cNvPr id="13" name="Picture 12" descr="A picture containing drawing&#10;&#10;Description automatically generated">
            <a:extLst>
              <a:ext uri="{FF2B5EF4-FFF2-40B4-BE49-F238E27FC236}">
                <a16:creationId xmlns:a16="http://schemas.microsoft.com/office/drawing/2014/main" id="{7248FCD2-187F-4369-A26A-3BE5B030E1DB}"/>
              </a:ext>
            </a:extLst>
          </p:cNvPr>
          <p:cNvPicPr>
            <a:picLocks noChangeAspect="1"/>
          </p:cNvPicPr>
          <p:nvPr userDrawn="1"/>
        </p:nvPicPr>
        <p:blipFill>
          <a:blip r:embed="rId3" cstate="print">
            <a:biLevel thresh="25000"/>
            <a:extLst>
              <a:ext uri="{28A0092B-C50C-407E-A947-70E740481C1C}">
                <a14:useLocalDpi xmlns:a14="http://schemas.microsoft.com/office/drawing/2010/main"/>
              </a:ext>
            </a:extLst>
          </a:blip>
          <a:stretch>
            <a:fillRect/>
          </a:stretch>
        </p:blipFill>
        <p:spPr>
          <a:xfrm>
            <a:off x="10109695" y="218889"/>
            <a:ext cx="1853706" cy="365124"/>
          </a:xfrm>
          <a:prstGeom prst="rect">
            <a:avLst/>
          </a:prstGeom>
        </p:spPr>
      </p:pic>
      <p:pic>
        <p:nvPicPr>
          <p:cNvPr id="14" name="Picture 13">
            <a:extLst>
              <a:ext uri="{FF2B5EF4-FFF2-40B4-BE49-F238E27FC236}">
                <a16:creationId xmlns:a16="http://schemas.microsoft.com/office/drawing/2014/main" id="{141F3328-C158-4EBF-B0DA-FBBBDFDE580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20071" y="6298589"/>
            <a:ext cx="1175232" cy="376531"/>
          </a:xfrm>
          <a:prstGeom prst="rect">
            <a:avLst/>
          </a:prstGeom>
        </p:spPr>
      </p:pic>
      <p:sp>
        <p:nvSpPr>
          <p:cNvPr id="7" name="Footer Placeholder 3">
            <a:extLst>
              <a:ext uri="{FF2B5EF4-FFF2-40B4-BE49-F238E27FC236}">
                <a16:creationId xmlns:a16="http://schemas.microsoft.com/office/drawing/2014/main" id="{FB045EE0-C837-45B1-9822-D74D9C93FC6F}"/>
              </a:ext>
            </a:extLst>
          </p:cNvPr>
          <p:cNvSpPr>
            <a:spLocks noGrp="1"/>
          </p:cNvSpPr>
          <p:nvPr>
            <p:ph type="ftr" sz="quarter" idx="11"/>
          </p:nvPr>
        </p:nvSpPr>
        <p:spPr>
          <a:xfrm>
            <a:off x="4038956" y="6459535"/>
            <a:ext cx="4114800" cy="322265"/>
          </a:xfrm>
          <a:prstGeom prst="rect">
            <a:avLst/>
          </a:prstGeom>
        </p:spPr>
        <p:txBody>
          <a:bodyPr/>
          <a:lstStyle/>
          <a:p>
            <a:endParaRPr lang="en-IN"/>
          </a:p>
        </p:txBody>
      </p:sp>
      <p:sp>
        <p:nvSpPr>
          <p:cNvPr id="10" name="Slide Number Placeholder 4">
            <a:extLst>
              <a:ext uri="{FF2B5EF4-FFF2-40B4-BE49-F238E27FC236}">
                <a16:creationId xmlns:a16="http://schemas.microsoft.com/office/drawing/2014/main" id="{43D95FB2-5635-4BEF-8983-D06B88BBFC59}"/>
              </a:ext>
            </a:extLst>
          </p:cNvPr>
          <p:cNvSpPr>
            <a:spLocks noGrp="1"/>
          </p:cNvSpPr>
          <p:nvPr>
            <p:ph type="sldNum" sz="quarter" idx="12"/>
          </p:nvPr>
        </p:nvSpPr>
        <p:spPr>
          <a:xfrm>
            <a:off x="9220200" y="6459535"/>
            <a:ext cx="2743200" cy="322265"/>
          </a:xfrm>
          <a:prstGeom prst="rect">
            <a:avLst/>
          </a:prstGeom>
        </p:spPr>
        <p:txBody>
          <a:bodyPr/>
          <a:lstStyle/>
          <a:p>
            <a:fld id="{8C1CC9D4-B77B-4D62-AC93-E2BD36A15066}" type="slidenum">
              <a:rPr lang="en-IN" smtClean="0"/>
              <a:t>‹#›</a:t>
            </a:fld>
            <a:endParaRPr lang="en-IN"/>
          </a:p>
        </p:txBody>
      </p:sp>
    </p:spTree>
    <p:extLst>
      <p:ext uri="{BB962C8B-B14F-4D97-AF65-F5344CB8AC3E}">
        <p14:creationId xmlns:p14="http://schemas.microsoft.com/office/powerpoint/2010/main" val="2112892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038956" y="6459535"/>
            <a:ext cx="4114800" cy="322265"/>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228600" y="6459535"/>
            <a:ext cx="2743912" cy="322265"/>
          </a:xfrm>
          <a:prstGeom prst="rect">
            <a:avLst/>
          </a:prstGeo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4" name="Holder 4"/>
          <p:cNvSpPr>
            <a:spLocks noGrp="1"/>
          </p:cNvSpPr>
          <p:nvPr>
            <p:ph type="sldNum" sz="quarter" idx="7"/>
          </p:nvPr>
        </p:nvSpPr>
        <p:spPr>
          <a:xfrm>
            <a:off x="9220200" y="6459535"/>
            <a:ext cx="2743200" cy="322265"/>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916443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Opt 1">
    <p:bg>
      <p:bgPr>
        <a:gradFill>
          <a:gsLst>
            <a:gs pos="46000">
              <a:schemeClr val="tx2"/>
            </a:gs>
            <a:gs pos="0">
              <a:schemeClr val="tx2">
                <a:lumMod val="60000"/>
                <a:lumOff val="40000"/>
              </a:schemeClr>
            </a:gs>
            <a:gs pos="100000">
              <a:schemeClr val="tx2">
                <a:lumMod val="75000"/>
              </a:schemeClr>
            </a:gs>
          </a:gsLst>
          <a:lin ang="10800000" scaled="1"/>
        </a:gra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1424FE08-F224-9A35-A7D0-895040A3373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8" name="Title 1">
            <a:extLst>
              <a:ext uri="{FF2B5EF4-FFF2-40B4-BE49-F238E27FC236}">
                <a16:creationId xmlns:a16="http://schemas.microsoft.com/office/drawing/2014/main" id="{95DC770C-1F5F-48DF-6A04-504B03D6B819}"/>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Tree>
    <p:extLst>
      <p:ext uri="{BB962C8B-B14F-4D97-AF65-F5344CB8AC3E}">
        <p14:creationId xmlns:p14="http://schemas.microsoft.com/office/powerpoint/2010/main" val="15649721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Agenda Opt 1">
    <p:bg>
      <p:bgPr>
        <a:gradFill>
          <a:gsLst>
            <a:gs pos="46000">
              <a:schemeClr val="tx2"/>
            </a:gs>
            <a:gs pos="0">
              <a:schemeClr val="tx2">
                <a:lumMod val="60000"/>
                <a:lumOff val="40000"/>
              </a:schemeClr>
            </a:gs>
            <a:gs pos="100000">
              <a:schemeClr val="tx2">
                <a:lumMod val="75000"/>
              </a:schemeClr>
            </a:gs>
          </a:gsLst>
          <a:lin ang="10800000" scaled="1"/>
        </a:gra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1424FE08-F224-9A35-A7D0-895040A3373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8" name="Title 1">
            <a:extLst>
              <a:ext uri="{FF2B5EF4-FFF2-40B4-BE49-F238E27FC236}">
                <a16:creationId xmlns:a16="http://schemas.microsoft.com/office/drawing/2014/main" id="{95DC770C-1F5F-48DF-6A04-504B03D6B819}"/>
              </a:ext>
            </a:extLst>
          </p:cNvPr>
          <p:cNvSpPr>
            <a:spLocks noGrp="1"/>
          </p:cNvSpPr>
          <p:nvPr>
            <p:ph type="title" hasCustomPrompt="1"/>
          </p:nvPr>
        </p:nvSpPr>
        <p:spPr>
          <a:xfrm>
            <a:off x="996949" y="1504950"/>
            <a:ext cx="5213351" cy="561975"/>
          </a:xfrm>
          <a:prstGeom prst="rect">
            <a:avLst/>
          </a:prstGeom>
        </p:spPr>
        <p:txBody>
          <a:bodyPr lIns="0" tIns="0" rIns="0" bIns="0" anchor="t">
            <a:noAutofit/>
          </a:bodyPr>
          <a:lstStyle>
            <a:lvl1pPr>
              <a:defRPr lang="en-US" sz="40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5" name="TextBox 4">
            <a:extLst>
              <a:ext uri="{FF2B5EF4-FFF2-40B4-BE49-F238E27FC236}">
                <a16:creationId xmlns:a16="http://schemas.microsoft.com/office/drawing/2014/main" id="{D31F6C17-8C97-6770-701E-6D8D2A97A655}"/>
              </a:ext>
            </a:extLst>
          </p:cNvPr>
          <p:cNvSpPr txBox="1"/>
          <p:nvPr userDrawn="1"/>
        </p:nvSpPr>
        <p:spPr>
          <a:xfrm>
            <a:off x="7541119" y="1059352"/>
            <a:ext cx="4140000" cy="5220000"/>
          </a:xfrm>
          <a:prstGeom prst="roundRect">
            <a:avLst>
              <a:gd name="adj" fmla="val 8322"/>
            </a:avLst>
          </a:prstGeom>
          <a:solidFill>
            <a:schemeClr val="bg1"/>
          </a:solidFill>
          <a:ln w="63500">
            <a:noFill/>
          </a:ln>
          <a:effectLst>
            <a:outerShdw blurRad="88900" dist="76200" dir="2700000" algn="tl" rotWithShape="0">
              <a:prstClr val="black">
                <a:alpha val="19000"/>
              </a:prstClr>
            </a:outerShdw>
          </a:effectLst>
        </p:spPr>
        <p:txBody>
          <a:bodyPr wrap="square" lIns="108000" tIns="108000" rIns="108000" bIns="108000" rtlCol="0" anchor="ctr">
            <a:no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chemeClr val="bg1"/>
                </a:solidFill>
                <a:effectLst/>
                <a:uLnTx/>
                <a:uFillTx/>
                <a:latin typeface="Century Gothic" panose="020B0502020202020204" pitchFamily="34" charset="0"/>
              </a:defRPr>
            </a:lvl1pPr>
          </a:lstStyle>
          <a:p>
            <a:endParaRPr lang="en-US" sz="1800">
              <a:solidFill>
                <a:schemeClr val="tx1">
                  <a:lumMod val="75000"/>
                  <a:lumOff val="25000"/>
                </a:schemeClr>
              </a:solidFill>
            </a:endParaRPr>
          </a:p>
        </p:txBody>
      </p:sp>
      <p:sp>
        <p:nvSpPr>
          <p:cNvPr id="3" name="Picture Placeholder 2">
            <a:extLst>
              <a:ext uri="{FF2B5EF4-FFF2-40B4-BE49-F238E27FC236}">
                <a16:creationId xmlns:a16="http://schemas.microsoft.com/office/drawing/2014/main" id="{FF9D6E82-B183-7418-57F2-88822403FDBE}"/>
              </a:ext>
            </a:extLst>
          </p:cNvPr>
          <p:cNvSpPr>
            <a:spLocks noGrp="1"/>
          </p:cNvSpPr>
          <p:nvPr>
            <p:ph type="pic" sz="quarter" idx="13"/>
          </p:nvPr>
        </p:nvSpPr>
        <p:spPr>
          <a:xfrm>
            <a:off x="7631119" y="1149352"/>
            <a:ext cx="3960000" cy="5040000"/>
          </a:xfrm>
          <a:prstGeom prst="roundRect">
            <a:avLst>
              <a:gd name="adj" fmla="val 6379"/>
            </a:avLst>
          </a:prstGeom>
          <a:solidFill>
            <a:schemeClr val="tx2">
              <a:lumMod val="20000"/>
              <a:lumOff val="80000"/>
            </a:schemeClr>
          </a:solidFill>
        </p:spPr>
        <p:txBody>
          <a:bodyPr/>
          <a:lstStyle/>
          <a:p>
            <a:endParaRPr lang="en-IN"/>
          </a:p>
        </p:txBody>
      </p:sp>
    </p:spTree>
    <p:extLst>
      <p:ext uri="{BB962C8B-B14F-4D97-AF65-F5344CB8AC3E}">
        <p14:creationId xmlns:p14="http://schemas.microsoft.com/office/powerpoint/2010/main" val="21974350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Agenda Opt 1">
    <p:bg>
      <p:bgPr>
        <a:gradFill>
          <a:gsLst>
            <a:gs pos="46000">
              <a:schemeClr val="tx2"/>
            </a:gs>
            <a:gs pos="0">
              <a:schemeClr val="tx2">
                <a:lumMod val="60000"/>
                <a:lumOff val="40000"/>
              </a:schemeClr>
            </a:gs>
            <a:gs pos="100000">
              <a:schemeClr val="tx2">
                <a:lumMod val="75000"/>
              </a:schemeClr>
            </a:gs>
          </a:gsLst>
          <a:lin ang="10800000" scaled="1"/>
        </a:gra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1424FE08-F224-9A35-A7D0-895040A33732}"/>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8" name="Title 1">
            <a:extLst>
              <a:ext uri="{FF2B5EF4-FFF2-40B4-BE49-F238E27FC236}">
                <a16:creationId xmlns:a16="http://schemas.microsoft.com/office/drawing/2014/main" id="{95DC770C-1F5F-48DF-6A04-504B03D6B819}"/>
              </a:ext>
            </a:extLst>
          </p:cNvPr>
          <p:cNvSpPr>
            <a:spLocks noGrp="1"/>
          </p:cNvSpPr>
          <p:nvPr>
            <p:ph type="title" hasCustomPrompt="1"/>
          </p:nvPr>
        </p:nvSpPr>
        <p:spPr>
          <a:xfrm>
            <a:off x="996949" y="1504950"/>
            <a:ext cx="5213351" cy="561975"/>
          </a:xfrm>
          <a:prstGeom prst="rect">
            <a:avLst/>
          </a:prstGeom>
        </p:spPr>
        <p:txBody>
          <a:bodyPr lIns="0" tIns="0" rIns="0" bIns="0" anchor="t">
            <a:noAutofit/>
          </a:bodyPr>
          <a:lstStyle>
            <a:lvl1pPr>
              <a:defRPr lang="en-US" sz="4000" b="1" kern="1200" smtClean="0">
                <a:solidFill>
                  <a:schemeClr val="bg1"/>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20" name="Picture Placeholder 19">
            <a:extLst>
              <a:ext uri="{FF2B5EF4-FFF2-40B4-BE49-F238E27FC236}">
                <a16:creationId xmlns:a16="http://schemas.microsoft.com/office/drawing/2014/main" id="{5740087F-E69F-C8EC-5957-56EF89978C0A}"/>
              </a:ext>
            </a:extLst>
          </p:cNvPr>
          <p:cNvSpPr>
            <a:spLocks noGrp="1"/>
          </p:cNvSpPr>
          <p:nvPr>
            <p:ph type="pic" sz="quarter" idx="13"/>
          </p:nvPr>
        </p:nvSpPr>
        <p:spPr>
          <a:xfrm>
            <a:off x="7228188" y="1206500"/>
            <a:ext cx="4735211" cy="4786596"/>
          </a:xfrm>
          <a:custGeom>
            <a:avLst/>
            <a:gdLst>
              <a:gd name="connsiteX0" fmla="*/ 4544807 w 4844026"/>
              <a:gd name="connsiteY0" fmla="*/ 1642874 h 4896592"/>
              <a:gd name="connsiteX1" fmla="*/ 4601136 w 4844026"/>
              <a:gd name="connsiteY1" fmla="*/ 1657555 h 4896592"/>
              <a:gd name="connsiteX2" fmla="*/ 4620312 w 4844026"/>
              <a:gd name="connsiteY2" fmla="*/ 1707891 h 4896592"/>
              <a:gd name="connsiteX3" fmla="*/ 4613121 w 4844026"/>
              <a:gd name="connsiteY3" fmla="*/ 1729464 h 4896592"/>
              <a:gd name="connsiteX4" fmla="*/ 4507655 w 4844026"/>
              <a:gd name="connsiteY4" fmla="*/ 1863694 h 4896592"/>
              <a:gd name="connsiteX5" fmla="*/ 4447730 w 4844026"/>
              <a:gd name="connsiteY5" fmla="*/ 1878076 h 4896592"/>
              <a:gd name="connsiteX6" fmla="*/ 4390203 w 4844026"/>
              <a:gd name="connsiteY6" fmla="*/ 1820548 h 4896592"/>
              <a:gd name="connsiteX7" fmla="*/ 4474097 w 4844026"/>
              <a:gd name="connsiteY7" fmla="*/ 1669540 h 4896592"/>
              <a:gd name="connsiteX8" fmla="*/ 4488479 w 4844026"/>
              <a:gd name="connsiteY8" fmla="*/ 1662349 h 4896592"/>
              <a:gd name="connsiteX9" fmla="*/ 4544807 w 4844026"/>
              <a:gd name="connsiteY9" fmla="*/ 1642874 h 4896592"/>
              <a:gd name="connsiteX10" fmla="*/ 4203240 w 4844026"/>
              <a:gd name="connsiteY10" fmla="*/ 1434636 h 4896592"/>
              <a:gd name="connsiteX11" fmla="*/ 4229607 w 4844026"/>
              <a:gd name="connsiteY11" fmla="*/ 1434636 h 4896592"/>
              <a:gd name="connsiteX12" fmla="*/ 4299119 w 4844026"/>
              <a:gd name="connsiteY12" fmla="*/ 1540103 h 4896592"/>
              <a:gd name="connsiteX13" fmla="*/ 4299119 w 4844026"/>
              <a:gd name="connsiteY13" fmla="*/ 1549691 h 4896592"/>
              <a:gd name="connsiteX14" fmla="*/ 4301516 w 4844026"/>
              <a:gd name="connsiteY14" fmla="*/ 1549691 h 4896592"/>
              <a:gd name="connsiteX15" fmla="*/ 4294325 w 4844026"/>
              <a:gd name="connsiteY15" fmla="*/ 1719875 h 4896592"/>
              <a:gd name="connsiteX16" fmla="*/ 4227210 w 4844026"/>
              <a:gd name="connsiteY16" fmla="*/ 1779800 h 4896592"/>
              <a:gd name="connsiteX17" fmla="*/ 4054628 w 4844026"/>
              <a:gd name="connsiteY17" fmla="*/ 1667142 h 4896592"/>
              <a:gd name="connsiteX18" fmla="*/ 4030658 w 4844026"/>
              <a:gd name="connsiteY18" fmla="*/ 1547294 h 4896592"/>
              <a:gd name="connsiteX19" fmla="*/ 4078598 w 4844026"/>
              <a:gd name="connsiteY19" fmla="*/ 1484973 h 4896592"/>
              <a:gd name="connsiteX20" fmla="*/ 4203240 w 4844026"/>
              <a:gd name="connsiteY20" fmla="*/ 1434636 h 4896592"/>
              <a:gd name="connsiteX21" fmla="*/ 4720985 w 4844026"/>
              <a:gd name="connsiteY21" fmla="*/ 1199734 h 4896592"/>
              <a:gd name="connsiteX22" fmla="*/ 4790497 w 4844026"/>
              <a:gd name="connsiteY22" fmla="*/ 1202131 h 4896592"/>
              <a:gd name="connsiteX23" fmla="*/ 4843231 w 4844026"/>
              <a:gd name="connsiteY23" fmla="*/ 1281231 h 4896592"/>
              <a:gd name="connsiteX24" fmla="*/ 4783306 w 4844026"/>
              <a:gd name="connsiteY24" fmla="*/ 1420255 h 4896592"/>
              <a:gd name="connsiteX25" fmla="*/ 4620312 w 4844026"/>
              <a:gd name="connsiteY25" fmla="*/ 1434637 h 4896592"/>
              <a:gd name="connsiteX26" fmla="*/ 4557991 w 4844026"/>
              <a:gd name="connsiteY26" fmla="*/ 1374713 h 4896592"/>
              <a:gd name="connsiteX27" fmla="*/ 4538815 w 4844026"/>
              <a:gd name="connsiteY27" fmla="*/ 1288422 h 4896592"/>
              <a:gd name="connsiteX28" fmla="*/ 4569976 w 4844026"/>
              <a:gd name="connsiteY28" fmla="*/ 1250070 h 4896592"/>
              <a:gd name="connsiteX29" fmla="*/ 4629900 w 4844026"/>
              <a:gd name="connsiteY29" fmla="*/ 1216513 h 4896592"/>
              <a:gd name="connsiteX30" fmla="*/ 4720985 w 4844026"/>
              <a:gd name="connsiteY30" fmla="*/ 1199734 h 4896592"/>
              <a:gd name="connsiteX31" fmla="*/ 4188858 w 4844026"/>
              <a:gd name="connsiteY31" fmla="*/ 775171 h 4896592"/>
              <a:gd name="connsiteX32" fmla="*/ 4265561 w 4844026"/>
              <a:gd name="connsiteY32" fmla="*/ 782662 h 4896592"/>
              <a:gd name="connsiteX33" fmla="*/ 4296722 w 4844026"/>
              <a:gd name="connsiteY33" fmla="*/ 837792 h 4896592"/>
              <a:gd name="connsiteX34" fmla="*/ 4289531 w 4844026"/>
              <a:gd name="connsiteY34" fmla="*/ 931274 h 4896592"/>
              <a:gd name="connsiteX35" fmla="*/ 4196049 w 4844026"/>
              <a:gd name="connsiteY35" fmla="*/ 1046328 h 4896592"/>
              <a:gd name="connsiteX36" fmla="*/ 4088186 w 4844026"/>
              <a:gd name="connsiteY36" fmla="*/ 979213 h 4896592"/>
              <a:gd name="connsiteX37" fmla="*/ 4069010 w 4844026"/>
              <a:gd name="connsiteY37" fmla="*/ 902510 h 4896592"/>
              <a:gd name="connsiteX38" fmla="*/ 4066613 w 4844026"/>
              <a:gd name="connsiteY38" fmla="*/ 880937 h 4896592"/>
              <a:gd name="connsiteX39" fmla="*/ 4112155 w 4844026"/>
              <a:gd name="connsiteY39" fmla="*/ 811425 h 4896592"/>
              <a:gd name="connsiteX40" fmla="*/ 4119346 w 4844026"/>
              <a:gd name="connsiteY40" fmla="*/ 809028 h 4896592"/>
              <a:gd name="connsiteX41" fmla="*/ 4188858 w 4844026"/>
              <a:gd name="connsiteY41" fmla="*/ 775171 h 4896592"/>
              <a:gd name="connsiteX42" fmla="*/ 3756205 w 4844026"/>
              <a:gd name="connsiteY42" fmla="*/ 530981 h 4896592"/>
              <a:gd name="connsiteX43" fmla="*/ 3766992 w 4844026"/>
              <a:gd name="connsiteY43" fmla="*/ 533378 h 4896592"/>
              <a:gd name="connsiteX44" fmla="*/ 3800549 w 4844026"/>
              <a:gd name="connsiteY44" fmla="*/ 535775 h 4896592"/>
              <a:gd name="connsiteX45" fmla="*/ 3826916 w 4844026"/>
              <a:gd name="connsiteY45" fmla="*/ 554951 h 4896592"/>
              <a:gd name="connsiteX46" fmla="*/ 3822122 w 4844026"/>
              <a:gd name="connsiteY46" fmla="*/ 646036 h 4896592"/>
              <a:gd name="connsiteX47" fmla="*/ 3800549 w 4844026"/>
              <a:gd name="connsiteY47" fmla="*/ 737120 h 4896592"/>
              <a:gd name="connsiteX48" fmla="*/ 3793358 w 4844026"/>
              <a:gd name="connsiteY48" fmla="*/ 789854 h 4896592"/>
              <a:gd name="connsiteX49" fmla="*/ 3709464 w 4844026"/>
              <a:gd name="connsiteY49" fmla="*/ 948052 h 4896592"/>
              <a:gd name="connsiteX50" fmla="*/ 3666319 w 4844026"/>
              <a:gd name="connsiteY50" fmla="*/ 976816 h 4896592"/>
              <a:gd name="connsiteX51" fmla="*/ 3599204 w 4844026"/>
              <a:gd name="connsiteY51" fmla="*/ 981610 h 4896592"/>
              <a:gd name="connsiteX52" fmla="*/ 3517707 w 4844026"/>
              <a:gd name="connsiteY52" fmla="*/ 847381 h 4896592"/>
              <a:gd name="connsiteX53" fmla="*/ 3577631 w 4844026"/>
              <a:gd name="connsiteY53" fmla="*/ 689181 h 4896592"/>
              <a:gd name="connsiteX54" fmla="*/ 3601601 w 4844026"/>
              <a:gd name="connsiteY54" fmla="*/ 650828 h 4896592"/>
              <a:gd name="connsiteX55" fmla="*/ 3690289 w 4844026"/>
              <a:gd name="connsiteY55" fmla="*/ 566936 h 4896592"/>
              <a:gd name="connsiteX56" fmla="*/ 3745419 w 4844026"/>
              <a:gd name="connsiteY56" fmla="*/ 535775 h 4896592"/>
              <a:gd name="connsiteX57" fmla="*/ 3756205 w 4844026"/>
              <a:gd name="connsiteY57" fmla="*/ 530981 h 4896592"/>
              <a:gd name="connsiteX58" fmla="*/ 2642814 w 4844026"/>
              <a:gd name="connsiteY58" fmla="*/ 146868 h 4896592"/>
              <a:gd name="connsiteX59" fmla="*/ 2714723 w 4844026"/>
              <a:gd name="connsiteY59" fmla="*/ 147467 h 4896592"/>
              <a:gd name="connsiteX60" fmla="*/ 3043108 w 4844026"/>
              <a:gd name="connsiteY60" fmla="*/ 308064 h 4896592"/>
              <a:gd name="connsiteX61" fmla="*/ 3148574 w 4844026"/>
              <a:gd name="connsiteY61" fmla="*/ 538172 h 4896592"/>
              <a:gd name="connsiteX62" fmla="*/ 3170147 w 4844026"/>
              <a:gd name="connsiteY62" fmla="*/ 617271 h 4896592"/>
              <a:gd name="connsiteX63" fmla="*/ 3191720 w 4844026"/>
              <a:gd name="connsiteY63" fmla="*/ 782663 h 4896592"/>
              <a:gd name="connsiteX64" fmla="*/ 3237262 w 4844026"/>
              <a:gd name="connsiteY64" fmla="*/ 967229 h 4896592"/>
              <a:gd name="connsiteX65" fmla="*/ 3306774 w 4844026"/>
              <a:gd name="connsiteY65" fmla="*/ 1187749 h 4896592"/>
              <a:gd name="connsiteX66" fmla="*/ 3354713 w 4844026"/>
              <a:gd name="connsiteY66" fmla="*/ 1321980 h 4896592"/>
              <a:gd name="connsiteX67" fmla="*/ 3472165 w 4844026"/>
              <a:gd name="connsiteY67" fmla="*/ 1432240 h 4896592"/>
              <a:gd name="connsiteX68" fmla="*/ 3599204 w 4844026"/>
              <a:gd name="connsiteY68" fmla="*/ 1528119 h 4896592"/>
              <a:gd name="connsiteX69" fmla="*/ 3738228 w 4844026"/>
              <a:gd name="connsiteY69" fmla="*/ 1676731 h 4896592"/>
              <a:gd name="connsiteX70" fmla="*/ 3865268 w 4844026"/>
              <a:gd name="connsiteY70" fmla="*/ 1775006 h 4896592"/>
              <a:gd name="connsiteX71" fmla="*/ 3982719 w 4844026"/>
              <a:gd name="connsiteY71" fmla="*/ 1866091 h 4896592"/>
              <a:gd name="connsiteX72" fmla="*/ 4100171 w 4844026"/>
              <a:gd name="connsiteY72" fmla="*/ 1935603 h 4896592"/>
              <a:gd name="connsiteX73" fmla="*/ 4200843 w 4844026"/>
              <a:gd name="connsiteY73" fmla="*/ 1981145 h 4896592"/>
              <a:gd name="connsiteX74" fmla="*/ 4373425 w 4844026"/>
              <a:gd name="connsiteY74" fmla="*/ 2043467 h 4896592"/>
              <a:gd name="connsiteX75" fmla="*/ 4589152 w 4844026"/>
              <a:gd name="connsiteY75" fmla="*/ 2084215 h 4896592"/>
              <a:gd name="connsiteX76" fmla="*/ 4608328 w 4844026"/>
              <a:gd name="connsiteY76" fmla="*/ 2086612 h 4896592"/>
              <a:gd name="connsiteX77" fmla="*/ 4720985 w 4844026"/>
              <a:gd name="connsiteY77" fmla="*/ 2124963 h 4896592"/>
              <a:gd name="connsiteX78" fmla="*/ 4804879 w 4844026"/>
              <a:gd name="connsiteY78" fmla="*/ 2254400 h 4896592"/>
              <a:gd name="connsiteX79" fmla="*/ 4826452 w 4844026"/>
              <a:gd name="connsiteY79" fmla="*/ 2448554 h 4896592"/>
              <a:gd name="connsiteX80" fmla="*/ 4807276 w 4844026"/>
              <a:gd name="connsiteY80" fmla="*/ 2709823 h 4896592"/>
              <a:gd name="connsiteX81" fmla="*/ 4778512 w 4844026"/>
              <a:gd name="connsiteY81" fmla="*/ 2923153 h 4896592"/>
              <a:gd name="connsiteX82" fmla="*/ 4646679 w 4844026"/>
              <a:gd name="connsiteY82" fmla="*/ 3448089 h 4896592"/>
              <a:gd name="connsiteX83" fmla="*/ 4349455 w 4844026"/>
              <a:gd name="connsiteY83" fmla="*/ 3910704 h 4896592"/>
              <a:gd name="connsiteX84" fmla="*/ 4217622 w 4844026"/>
              <a:gd name="connsiteY84" fmla="*/ 4068903 h 4896592"/>
              <a:gd name="connsiteX85" fmla="*/ 4152904 w 4844026"/>
              <a:gd name="connsiteY85" fmla="*/ 4152797 h 4896592"/>
              <a:gd name="connsiteX86" fmla="*/ 3894031 w 4844026"/>
              <a:gd name="connsiteY86" fmla="*/ 4394891 h 4896592"/>
              <a:gd name="connsiteX87" fmla="*/ 3690289 w 4844026"/>
              <a:gd name="connsiteY87" fmla="*/ 4526724 h 4896592"/>
              <a:gd name="connsiteX88" fmla="*/ 3316362 w 4844026"/>
              <a:gd name="connsiteY88" fmla="*/ 4680130 h 4896592"/>
              <a:gd name="connsiteX89" fmla="*/ 3009550 w 4844026"/>
              <a:gd name="connsiteY89" fmla="*/ 4785597 h 4896592"/>
              <a:gd name="connsiteX90" fmla="*/ 2801014 w 4844026"/>
              <a:gd name="connsiteY90" fmla="*/ 4850315 h 4896592"/>
              <a:gd name="connsiteX91" fmla="*/ 2496599 w 4844026"/>
              <a:gd name="connsiteY91" fmla="*/ 4893460 h 4896592"/>
              <a:gd name="connsiteX92" fmla="*/ 2139451 w 4844026"/>
              <a:gd name="connsiteY92" fmla="*/ 4876681 h 4896592"/>
              <a:gd name="connsiteX93" fmla="*/ 1945296 w 4844026"/>
              <a:gd name="connsiteY93" fmla="*/ 4857506 h 4896592"/>
              <a:gd name="connsiteX94" fmla="*/ 1715187 w 4844026"/>
              <a:gd name="connsiteY94" fmla="*/ 4807169 h 4896592"/>
              <a:gd name="connsiteX95" fmla="*/ 1511445 w 4844026"/>
              <a:gd name="connsiteY95" fmla="*/ 4747245 h 4896592"/>
              <a:gd name="connsiteX96" fmla="*/ 1331673 w 4844026"/>
              <a:gd name="connsiteY96" fmla="*/ 4677733 h 4896592"/>
              <a:gd name="connsiteX97" fmla="*/ 1077594 w 4844026"/>
              <a:gd name="connsiteY97" fmla="*/ 4533915 h 4896592"/>
              <a:gd name="connsiteX98" fmla="*/ 921791 w 4844026"/>
              <a:gd name="connsiteY98" fmla="*/ 4404479 h 4896592"/>
              <a:gd name="connsiteX99" fmla="*/ 679697 w 4844026"/>
              <a:gd name="connsiteY99" fmla="*/ 4183958 h 4896592"/>
              <a:gd name="connsiteX100" fmla="*/ 346519 w 4844026"/>
              <a:gd name="connsiteY100" fmla="*/ 3831604 h 4896592"/>
              <a:gd name="connsiteX101" fmla="*/ 181128 w 4844026"/>
              <a:gd name="connsiteY101" fmla="*/ 3508013 h 4896592"/>
              <a:gd name="connsiteX102" fmla="*/ 58883 w 4844026"/>
              <a:gd name="connsiteY102" fmla="*/ 3105323 h 4896592"/>
              <a:gd name="connsiteX103" fmla="*/ 13340 w 4844026"/>
              <a:gd name="connsiteY103" fmla="*/ 2805702 h 4896592"/>
              <a:gd name="connsiteX104" fmla="*/ 1355 w 4844026"/>
              <a:gd name="connsiteY104" fmla="*/ 2609151 h 4896592"/>
              <a:gd name="connsiteX105" fmla="*/ 34913 w 4844026"/>
              <a:gd name="connsiteY105" fmla="*/ 2196872 h 4896592"/>
              <a:gd name="connsiteX106" fmla="*/ 116410 w 4844026"/>
              <a:gd name="connsiteY106" fmla="*/ 1916427 h 4896592"/>
              <a:gd name="connsiteX107" fmla="*/ 219479 w 4844026"/>
              <a:gd name="connsiteY107" fmla="*/ 1715082 h 4896592"/>
              <a:gd name="connsiteX108" fmla="*/ 329740 w 4844026"/>
              <a:gd name="connsiteY108" fmla="*/ 1461004 h 4896592"/>
              <a:gd name="connsiteX109" fmla="*/ 502322 w 4844026"/>
              <a:gd name="connsiteY109" fmla="*/ 1125428 h 4896592"/>
              <a:gd name="connsiteX110" fmla="*/ 634155 w 4844026"/>
              <a:gd name="connsiteY110" fmla="*/ 952847 h 4896592"/>
              <a:gd name="connsiteX111" fmla="*/ 837897 w 4844026"/>
              <a:gd name="connsiteY111" fmla="*/ 729930 h 4896592"/>
              <a:gd name="connsiteX112" fmla="*/ 998494 w 4844026"/>
              <a:gd name="connsiteY112" fmla="*/ 588509 h 4896592"/>
              <a:gd name="connsiteX113" fmla="*/ 1094373 w 4844026"/>
              <a:gd name="connsiteY113" fmla="*/ 521394 h 4896592"/>
              <a:gd name="connsiteX114" fmla="*/ 1274145 w 4844026"/>
              <a:gd name="connsiteY114" fmla="*/ 427912 h 4896592"/>
              <a:gd name="connsiteX115" fmla="*/ 1516239 w 4844026"/>
              <a:gd name="connsiteY115" fmla="*/ 329636 h 4896592"/>
              <a:gd name="connsiteX116" fmla="*/ 1669645 w 4844026"/>
              <a:gd name="connsiteY116" fmla="*/ 281697 h 4896592"/>
              <a:gd name="connsiteX117" fmla="*/ 1909342 w 4844026"/>
              <a:gd name="connsiteY117" fmla="*/ 214582 h 4896592"/>
              <a:gd name="connsiteX118" fmla="*/ 2194581 w 4844026"/>
              <a:gd name="connsiteY118" fmla="*/ 164246 h 4896592"/>
              <a:gd name="connsiteX119" fmla="*/ 2290460 w 4844026"/>
              <a:gd name="connsiteY119" fmla="*/ 159452 h 4896592"/>
              <a:gd name="connsiteX120" fmla="*/ 2501393 w 4844026"/>
              <a:gd name="connsiteY120" fmla="*/ 149864 h 4896592"/>
              <a:gd name="connsiteX121" fmla="*/ 2570905 w 4844026"/>
              <a:gd name="connsiteY121" fmla="*/ 149864 h 4896592"/>
              <a:gd name="connsiteX122" fmla="*/ 2642814 w 4844026"/>
              <a:gd name="connsiteY122" fmla="*/ 146868 h 4896592"/>
              <a:gd name="connsiteX123" fmla="*/ 4366159 w 4844026"/>
              <a:gd name="connsiteY123" fmla="*/ 108852 h 4896592"/>
              <a:gd name="connsiteX124" fmla="*/ 4447731 w 4844026"/>
              <a:gd name="connsiteY124" fmla="*/ 135481 h 4896592"/>
              <a:gd name="connsiteX125" fmla="*/ 4462113 w 4844026"/>
              <a:gd name="connsiteY125" fmla="*/ 173832 h 4896592"/>
              <a:gd name="connsiteX126" fmla="*/ 4454922 w 4844026"/>
              <a:gd name="connsiteY126" fmla="*/ 207390 h 4896592"/>
              <a:gd name="connsiteX127" fmla="*/ 4404586 w 4844026"/>
              <a:gd name="connsiteY127" fmla="*/ 288887 h 4896592"/>
              <a:gd name="connsiteX128" fmla="*/ 4383013 w 4844026"/>
              <a:gd name="connsiteY128" fmla="*/ 296078 h 4896592"/>
              <a:gd name="connsiteX129" fmla="*/ 4342264 w 4844026"/>
              <a:gd name="connsiteY129" fmla="*/ 341620 h 4896592"/>
              <a:gd name="connsiteX130" fmla="*/ 4258370 w 4844026"/>
              <a:gd name="connsiteY130" fmla="*/ 406338 h 4896592"/>
              <a:gd name="connsiteX131" fmla="*/ 4181667 w 4844026"/>
              <a:gd name="connsiteY131" fmla="*/ 339223 h 4896592"/>
              <a:gd name="connsiteX132" fmla="*/ 4200843 w 4844026"/>
              <a:gd name="connsiteY132" fmla="*/ 181023 h 4896592"/>
              <a:gd name="connsiteX133" fmla="*/ 4339868 w 4844026"/>
              <a:gd name="connsiteY133" fmla="*/ 109114 h 4896592"/>
              <a:gd name="connsiteX134" fmla="*/ 4366159 w 4844026"/>
              <a:gd name="connsiteY134" fmla="*/ 108852 h 4896592"/>
              <a:gd name="connsiteX135" fmla="*/ 3553849 w 4844026"/>
              <a:gd name="connsiteY135" fmla="*/ 764 h 4896592"/>
              <a:gd name="connsiteX136" fmla="*/ 3587219 w 4844026"/>
              <a:gd name="connsiteY136" fmla="*/ 10839 h 4896592"/>
              <a:gd name="connsiteX137" fmla="*/ 3671113 w 4844026"/>
              <a:gd name="connsiteY137" fmla="*/ 94732 h 4896592"/>
              <a:gd name="connsiteX138" fmla="*/ 3651937 w 4844026"/>
              <a:gd name="connsiteY138" fmla="*/ 137877 h 4896592"/>
              <a:gd name="connsiteX139" fmla="*/ 3659128 w 4844026"/>
              <a:gd name="connsiteY139" fmla="*/ 193007 h 4896592"/>
              <a:gd name="connsiteX140" fmla="*/ 3649541 w 4844026"/>
              <a:gd name="connsiteY140" fmla="*/ 209786 h 4896592"/>
              <a:gd name="connsiteX141" fmla="*/ 3498532 w 4844026"/>
              <a:gd name="connsiteY141" fmla="*/ 284093 h 4896592"/>
              <a:gd name="connsiteX142" fmla="*/ 3388271 w 4844026"/>
              <a:gd name="connsiteY142" fmla="*/ 123495 h 4896592"/>
              <a:gd name="connsiteX143" fmla="*/ 3407447 w 4844026"/>
              <a:gd name="connsiteY143" fmla="*/ 70762 h 4896592"/>
              <a:gd name="connsiteX144" fmla="*/ 3450592 w 4844026"/>
              <a:gd name="connsiteY144" fmla="*/ 41999 h 4896592"/>
              <a:gd name="connsiteX145" fmla="*/ 3457783 w 4844026"/>
              <a:gd name="connsiteY145" fmla="*/ 34809 h 4896592"/>
              <a:gd name="connsiteX146" fmla="*/ 3553849 w 4844026"/>
              <a:gd name="connsiteY146" fmla="*/ 764 h 489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4844026" h="4896592">
                <a:moveTo>
                  <a:pt x="4544807" y="1642874"/>
                </a:moveTo>
                <a:cubicBezTo>
                  <a:pt x="4563384" y="1640177"/>
                  <a:pt x="4581960" y="1643173"/>
                  <a:pt x="4601136" y="1657555"/>
                </a:cubicBezTo>
                <a:cubicBezTo>
                  <a:pt x="4617915" y="1669540"/>
                  <a:pt x="4632297" y="1683921"/>
                  <a:pt x="4620312" y="1707891"/>
                </a:cubicBezTo>
                <a:cubicBezTo>
                  <a:pt x="4617915" y="1715082"/>
                  <a:pt x="4613121" y="1722273"/>
                  <a:pt x="4613121" y="1729464"/>
                </a:cubicBezTo>
                <a:cubicBezTo>
                  <a:pt x="4617915" y="1806167"/>
                  <a:pt x="4567579" y="1839724"/>
                  <a:pt x="4507655" y="1863694"/>
                </a:cubicBezTo>
                <a:cubicBezTo>
                  <a:pt x="4486082" y="1873282"/>
                  <a:pt x="4464509" y="1878076"/>
                  <a:pt x="4447730" y="1878076"/>
                </a:cubicBezTo>
                <a:cubicBezTo>
                  <a:pt x="4406982" y="1880473"/>
                  <a:pt x="4380615" y="1856503"/>
                  <a:pt x="4390203" y="1820548"/>
                </a:cubicBezTo>
                <a:cubicBezTo>
                  <a:pt x="4402188" y="1763021"/>
                  <a:pt x="4430951" y="1712685"/>
                  <a:pt x="4474097" y="1669540"/>
                </a:cubicBezTo>
                <a:cubicBezTo>
                  <a:pt x="4478891" y="1667143"/>
                  <a:pt x="4483685" y="1664746"/>
                  <a:pt x="4488479" y="1662349"/>
                </a:cubicBezTo>
                <a:cubicBezTo>
                  <a:pt x="4507655" y="1653960"/>
                  <a:pt x="4526231" y="1645570"/>
                  <a:pt x="4544807" y="1642874"/>
                </a:cubicBezTo>
                <a:close/>
                <a:moveTo>
                  <a:pt x="4203240" y="1434636"/>
                </a:moveTo>
                <a:cubicBezTo>
                  <a:pt x="4210431" y="1429843"/>
                  <a:pt x="4220019" y="1429843"/>
                  <a:pt x="4229607" y="1434636"/>
                </a:cubicBezTo>
                <a:cubicBezTo>
                  <a:pt x="4270355" y="1458606"/>
                  <a:pt x="4306310" y="1484973"/>
                  <a:pt x="4299119" y="1540103"/>
                </a:cubicBezTo>
                <a:cubicBezTo>
                  <a:pt x="4299119" y="1544897"/>
                  <a:pt x="4299119" y="1547294"/>
                  <a:pt x="4299119" y="1549691"/>
                </a:cubicBezTo>
                <a:cubicBezTo>
                  <a:pt x="4299119" y="1549691"/>
                  <a:pt x="4301516" y="1549691"/>
                  <a:pt x="4301516" y="1549691"/>
                </a:cubicBezTo>
                <a:cubicBezTo>
                  <a:pt x="4299119" y="1607218"/>
                  <a:pt x="4299119" y="1662348"/>
                  <a:pt x="4294325" y="1719875"/>
                </a:cubicBezTo>
                <a:cubicBezTo>
                  <a:pt x="4291928" y="1753433"/>
                  <a:pt x="4260767" y="1779800"/>
                  <a:pt x="4227210" y="1779800"/>
                </a:cubicBezTo>
                <a:cubicBezTo>
                  <a:pt x="4143316" y="1782197"/>
                  <a:pt x="4090583" y="1736654"/>
                  <a:pt x="4054628" y="1667142"/>
                </a:cubicBezTo>
                <a:cubicBezTo>
                  <a:pt x="4033055" y="1631188"/>
                  <a:pt x="4021071" y="1590439"/>
                  <a:pt x="4030658" y="1547294"/>
                </a:cubicBezTo>
                <a:cubicBezTo>
                  <a:pt x="4037849" y="1518530"/>
                  <a:pt x="4049834" y="1501752"/>
                  <a:pt x="4078598" y="1484973"/>
                </a:cubicBezTo>
                <a:cubicBezTo>
                  <a:pt x="4119346" y="1463400"/>
                  <a:pt x="4162492" y="1456209"/>
                  <a:pt x="4203240" y="1434636"/>
                </a:cubicBezTo>
                <a:close/>
                <a:moveTo>
                  <a:pt x="4720985" y="1199734"/>
                </a:moveTo>
                <a:cubicBezTo>
                  <a:pt x="4744955" y="1199734"/>
                  <a:pt x="4766527" y="1199734"/>
                  <a:pt x="4790497" y="1202131"/>
                </a:cubicBezTo>
                <a:cubicBezTo>
                  <a:pt x="4831246" y="1206925"/>
                  <a:pt x="4848024" y="1238085"/>
                  <a:pt x="4843231" y="1281231"/>
                </a:cubicBezTo>
                <a:cubicBezTo>
                  <a:pt x="4838436" y="1336361"/>
                  <a:pt x="4814467" y="1379507"/>
                  <a:pt x="4783306" y="1420255"/>
                </a:cubicBezTo>
                <a:cubicBezTo>
                  <a:pt x="4747352" y="1468194"/>
                  <a:pt x="4665855" y="1472988"/>
                  <a:pt x="4620312" y="1434637"/>
                </a:cubicBezTo>
                <a:cubicBezTo>
                  <a:pt x="4598740" y="1415461"/>
                  <a:pt x="4574770" y="1398682"/>
                  <a:pt x="4557991" y="1374713"/>
                </a:cubicBezTo>
                <a:cubicBezTo>
                  <a:pt x="4538815" y="1348346"/>
                  <a:pt x="4529228" y="1319582"/>
                  <a:pt x="4538815" y="1288422"/>
                </a:cubicBezTo>
                <a:cubicBezTo>
                  <a:pt x="4543610" y="1271643"/>
                  <a:pt x="4550800" y="1257261"/>
                  <a:pt x="4569976" y="1250070"/>
                </a:cubicBezTo>
                <a:cubicBezTo>
                  <a:pt x="4591549" y="1242879"/>
                  <a:pt x="4610724" y="1228498"/>
                  <a:pt x="4629900" y="1216513"/>
                </a:cubicBezTo>
                <a:cubicBezTo>
                  <a:pt x="4651473" y="1202131"/>
                  <a:pt x="4651473" y="1202131"/>
                  <a:pt x="4720985" y="1199734"/>
                </a:cubicBezTo>
                <a:close/>
                <a:moveTo>
                  <a:pt x="4188858" y="775171"/>
                </a:moveTo>
                <a:cubicBezTo>
                  <a:pt x="4213427" y="773074"/>
                  <a:pt x="4239195" y="777868"/>
                  <a:pt x="4265561" y="782662"/>
                </a:cubicBezTo>
                <a:cubicBezTo>
                  <a:pt x="4289531" y="787456"/>
                  <a:pt x="4303913" y="813822"/>
                  <a:pt x="4296722" y="837792"/>
                </a:cubicBezTo>
                <a:cubicBezTo>
                  <a:pt x="4287134" y="868953"/>
                  <a:pt x="4287134" y="900113"/>
                  <a:pt x="4289531" y="931274"/>
                </a:cubicBezTo>
                <a:cubicBezTo>
                  <a:pt x="4291928" y="976816"/>
                  <a:pt x="4243989" y="1036740"/>
                  <a:pt x="4196049" y="1046328"/>
                </a:cubicBezTo>
                <a:cubicBezTo>
                  <a:pt x="4152904" y="1055916"/>
                  <a:pt x="4107361" y="1027152"/>
                  <a:pt x="4088186" y="979213"/>
                </a:cubicBezTo>
                <a:cubicBezTo>
                  <a:pt x="4078598" y="955243"/>
                  <a:pt x="4071407" y="928877"/>
                  <a:pt x="4069010" y="902510"/>
                </a:cubicBezTo>
                <a:cubicBezTo>
                  <a:pt x="4069010" y="892922"/>
                  <a:pt x="4066613" y="883334"/>
                  <a:pt x="4066613" y="880937"/>
                </a:cubicBezTo>
                <a:cubicBezTo>
                  <a:pt x="4064216" y="842586"/>
                  <a:pt x="4083392" y="821013"/>
                  <a:pt x="4112155" y="811425"/>
                </a:cubicBezTo>
                <a:cubicBezTo>
                  <a:pt x="4114552" y="811425"/>
                  <a:pt x="4116949" y="811425"/>
                  <a:pt x="4119346" y="809028"/>
                </a:cubicBezTo>
                <a:cubicBezTo>
                  <a:pt x="4140919" y="786257"/>
                  <a:pt x="4164289" y="777269"/>
                  <a:pt x="4188858" y="775171"/>
                </a:cubicBezTo>
                <a:close/>
                <a:moveTo>
                  <a:pt x="3756205" y="530981"/>
                </a:moveTo>
                <a:cubicBezTo>
                  <a:pt x="3759801" y="530381"/>
                  <a:pt x="3763397" y="530981"/>
                  <a:pt x="3766992" y="533378"/>
                </a:cubicBezTo>
                <a:cubicBezTo>
                  <a:pt x="3776580" y="538172"/>
                  <a:pt x="3788564" y="538172"/>
                  <a:pt x="3800549" y="535775"/>
                </a:cubicBezTo>
                <a:cubicBezTo>
                  <a:pt x="3817328" y="530981"/>
                  <a:pt x="3819725" y="535775"/>
                  <a:pt x="3826916" y="554951"/>
                </a:cubicBezTo>
                <a:cubicBezTo>
                  <a:pt x="3841298" y="588508"/>
                  <a:pt x="3831710" y="619669"/>
                  <a:pt x="3822122" y="646036"/>
                </a:cubicBezTo>
                <a:cubicBezTo>
                  <a:pt x="3810137" y="677196"/>
                  <a:pt x="3807740" y="705960"/>
                  <a:pt x="3800549" y="737120"/>
                </a:cubicBezTo>
                <a:cubicBezTo>
                  <a:pt x="3795755" y="753899"/>
                  <a:pt x="3793358" y="770678"/>
                  <a:pt x="3793358" y="789854"/>
                </a:cubicBezTo>
                <a:cubicBezTo>
                  <a:pt x="3793358" y="856969"/>
                  <a:pt x="3771785" y="914495"/>
                  <a:pt x="3709464" y="948052"/>
                </a:cubicBezTo>
                <a:cubicBezTo>
                  <a:pt x="3695082" y="955243"/>
                  <a:pt x="3680701" y="967228"/>
                  <a:pt x="3666319" y="976816"/>
                </a:cubicBezTo>
                <a:cubicBezTo>
                  <a:pt x="3644746" y="993595"/>
                  <a:pt x="3620777" y="998389"/>
                  <a:pt x="3599204" y="981610"/>
                </a:cubicBezTo>
                <a:cubicBezTo>
                  <a:pt x="3556058" y="945655"/>
                  <a:pt x="3517707" y="909701"/>
                  <a:pt x="3517707" y="847381"/>
                </a:cubicBezTo>
                <a:cubicBezTo>
                  <a:pt x="3520104" y="787456"/>
                  <a:pt x="3524898" y="729929"/>
                  <a:pt x="3577631" y="689181"/>
                </a:cubicBezTo>
                <a:cubicBezTo>
                  <a:pt x="3589616" y="679593"/>
                  <a:pt x="3594410" y="665211"/>
                  <a:pt x="3601601" y="650828"/>
                </a:cubicBezTo>
                <a:cubicBezTo>
                  <a:pt x="3618380" y="612478"/>
                  <a:pt x="3651937" y="588508"/>
                  <a:pt x="3690289" y="566936"/>
                </a:cubicBezTo>
                <a:cubicBezTo>
                  <a:pt x="3709464" y="557348"/>
                  <a:pt x="3728640" y="550157"/>
                  <a:pt x="3745419" y="535775"/>
                </a:cubicBezTo>
                <a:cubicBezTo>
                  <a:pt x="3749015" y="533378"/>
                  <a:pt x="3752610" y="531580"/>
                  <a:pt x="3756205" y="530981"/>
                </a:cubicBezTo>
                <a:close/>
                <a:moveTo>
                  <a:pt x="2642814" y="146868"/>
                </a:moveTo>
                <a:cubicBezTo>
                  <a:pt x="2666784" y="145669"/>
                  <a:pt x="2690754" y="145069"/>
                  <a:pt x="2714723" y="147467"/>
                </a:cubicBezTo>
                <a:cubicBezTo>
                  <a:pt x="2841762" y="161848"/>
                  <a:pt x="2959214" y="195405"/>
                  <a:pt x="3043108" y="308064"/>
                </a:cubicBezTo>
                <a:cubicBezTo>
                  <a:pt x="3095841" y="379973"/>
                  <a:pt x="3136589" y="451882"/>
                  <a:pt x="3148574" y="538172"/>
                </a:cubicBezTo>
                <a:cubicBezTo>
                  <a:pt x="3150971" y="564539"/>
                  <a:pt x="3160559" y="590906"/>
                  <a:pt x="3170147" y="617271"/>
                </a:cubicBezTo>
                <a:cubicBezTo>
                  <a:pt x="3191720" y="672403"/>
                  <a:pt x="3191720" y="727533"/>
                  <a:pt x="3191720" y="782663"/>
                </a:cubicBezTo>
                <a:cubicBezTo>
                  <a:pt x="3191720" y="849778"/>
                  <a:pt x="3210895" y="909701"/>
                  <a:pt x="3237262" y="967229"/>
                </a:cubicBezTo>
                <a:cubicBezTo>
                  <a:pt x="3268422" y="1036741"/>
                  <a:pt x="3282804" y="1113444"/>
                  <a:pt x="3306774" y="1187749"/>
                </a:cubicBezTo>
                <a:cubicBezTo>
                  <a:pt x="3323553" y="1233292"/>
                  <a:pt x="3333141" y="1278834"/>
                  <a:pt x="3354713" y="1321980"/>
                </a:cubicBezTo>
                <a:cubicBezTo>
                  <a:pt x="3381080" y="1369919"/>
                  <a:pt x="3421829" y="1408270"/>
                  <a:pt x="3472165" y="1432240"/>
                </a:cubicBezTo>
                <a:cubicBezTo>
                  <a:pt x="3520104" y="1456210"/>
                  <a:pt x="3558456" y="1492164"/>
                  <a:pt x="3599204" y="1528119"/>
                </a:cubicBezTo>
                <a:cubicBezTo>
                  <a:pt x="3651937" y="1573661"/>
                  <a:pt x="3699877" y="1619204"/>
                  <a:pt x="3738228" y="1676731"/>
                </a:cubicBezTo>
                <a:cubicBezTo>
                  <a:pt x="3769389" y="1722273"/>
                  <a:pt x="3817328" y="1753434"/>
                  <a:pt x="3865268" y="1775006"/>
                </a:cubicBezTo>
                <a:cubicBezTo>
                  <a:pt x="3913207" y="1796579"/>
                  <a:pt x="3946764" y="1832534"/>
                  <a:pt x="3982719" y="1866091"/>
                </a:cubicBezTo>
                <a:cubicBezTo>
                  <a:pt x="4018673" y="1897252"/>
                  <a:pt x="4059422" y="1916427"/>
                  <a:pt x="4100171" y="1935603"/>
                </a:cubicBezTo>
                <a:cubicBezTo>
                  <a:pt x="4133728" y="1949985"/>
                  <a:pt x="4169683" y="1964367"/>
                  <a:pt x="4200843" y="1981145"/>
                </a:cubicBezTo>
                <a:cubicBezTo>
                  <a:pt x="4255974" y="2012306"/>
                  <a:pt x="4315898" y="2021894"/>
                  <a:pt x="4373425" y="2043467"/>
                </a:cubicBezTo>
                <a:cubicBezTo>
                  <a:pt x="4442937" y="2069833"/>
                  <a:pt x="4517243" y="2072230"/>
                  <a:pt x="4589152" y="2084215"/>
                </a:cubicBezTo>
                <a:cubicBezTo>
                  <a:pt x="4596343" y="2084215"/>
                  <a:pt x="4603534" y="2089009"/>
                  <a:pt x="4608328" y="2086612"/>
                </a:cubicBezTo>
                <a:cubicBezTo>
                  <a:pt x="4653870" y="2072230"/>
                  <a:pt x="4687428" y="2098597"/>
                  <a:pt x="4720985" y="2124963"/>
                </a:cubicBezTo>
                <a:cubicBezTo>
                  <a:pt x="4764131" y="2160918"/>
                  <a:pt x="4792894" y="2204063"/>
                  <a:pt x="4804879" y="2254400"/>
                </a:cubicBezTo>
                <a:cubicBezTo>
                  <a:pt x="4816864" y="2319118"/>
                  <a:pt x="4821658" y="2383836"/>
                  <a:pt x="4826452" y="2448554"/>
                </a:cubicBezTo>
                <a:cubicBezTo>
                  <a:pt x="4819261" y="2534845"/>
                  <a:pt x="4816864" y="2621136"/>
                  <a:pt x="4807276" y="2709823"/>
                </a:cubicBezTo>
                <a:cubicBezTo>
                  <a:pt x="4800085" y="2781732"/>
                  <a:pt x="4788100" y="2851244"/>
                  <a:pt x="4778512" y="2923153"/>
                </a:cubicBezTo>
                <a:cubicBezTo>
                  <a:pt x="4756940" y="3102926"/>
                  <a:pt x="4730573" y="3282698"/>
                  <a:pt x="4646679" y="3448089"/>
                </a:cubicBezTo>
                <a:cubicBezTo>
                  <a:pt x="4565182" y="3611083"/>
                  <a:pt x="4464510" y="3766886"/>
                  <a:pt x="4349455" y="3910704"/>
                </a:cubicBezTo>
                <a:cubicBezTo>
                  <a:pt x="4306310" y="3963437"/>
                  <a:pt x="4260767" y="4016170"/>
                  <a:pt x="4217622" y="4068903"/>
                </a:cubicBezTo>
                <a:cubicBezTo>
                  <a:pt x="4196049" y="4095270"/>
                  <a:pt x="4174476" y="4124034"/>
                  <a:pt x="4152904" y="4152797"/>
                </a:cubicBezTo>
                <a:cubicBezTo>
                  <a:pt x="4080995" y="4248676"/>
                  <a:pt x="3994704" y="4330173"/>
                  <a:pt x="3894031" y="4394891"/>
                </a:cubicBezTo>
                <a:cubicBezTo>
                  <a:pt x="3826916" y="4438037"/>
                  <a:pt x="3764595" y="4493167"/>
                  <a:pt x="3690289" y="4526724"/>
                </a:cubicBezTo>
                <a:cubicBezTo>
                  <a:pt x="3568043" y="4581855"/>
                  <a:pt x="3443401" y="4636985"/>
                  <a:pt x="3316362" y="4680130"/>
                </a:cubicBezTo>
                <a:cubicBezTo>
                  <a:pt x="3213292" y="4716085"/>
                  <a:pt x="3112620" y="4749642"/>
                  <a:pt x="3009550" y="4785597"/>
                </a:cubicBezTo>
                <a:cubicBezTo>
                  <a:pt x="2940038" y="4809566"/>
                  <a:pt x="2872923" y="4833536"/>
                  <a:pt x="2801014" y="4850315"/>
                </a:cubicBezTo>
                <a:cubicBezTo>
                  <a:pt x="2700341" y="4874285"/>
                  <a:pt x="2599669" y="4883872"/>
                  <a:pt x="2496599" y="4893460"/>
                </a:cubicBezTo>
                <a:cubicBezTo>
                  <a:pt x="2376751" y="4903048"/>
                  <a:pt x="2256902" y="4888666"/>
                  <a:pt x="2139451" y="4876681"/>
                </a:cubicBezTo>
                <a:cubicBezTo>
                  <a:pt x="2074733" y="4869491"/>
                  <a:pt x="2010014" y="4867094"/>
                  <a:pt x="1945296" y="4857506"/>
                </a:cubicBezTo>
                <a:cubicBezTo>
                  <a:pt x="1868593" y="4843124"/>
                  <a:pt x="1791890" y="4826345"/>
                  <a:pt x="1715187" y="4807169"/>
                </a:cubicBezTo>
                <a:cubicBezTo>
                  <a:pt x="1645675" y="4790391"/>
                  <a:pt x="1578560" y="4771215"/>
                  <a:pt x="1511445" y="4747245"/>
                </a:cubicBezTo>
                <a:cubicBezTo>
                  <a:pt x="1451521" y="4723276"/>
                  <a:pt x="1391597" y="4701703"/>
                  <a:pt x="1331673" y="4677733"/>
                </a:cubicBezTo>
                <a:cubicBezTo>
                  <a:pt x="1240588" y="4641779"/>
                  <a:pt x="1156694" y="4591442"/>
                  <a:pt x="1077594" y="4533915"/>
                </a:cubicBezTo>
                <a:cubicBezTo>
                  <a:pt x="1022464" y="4495564"/>
                  <a:pt x="972127" y="4450021"/>
                  <a:pt x="921791" y="4404479"/>
                </a:cubicBezTo>
                <a:cubicBezTo>
                  <a:pt x="837897" y="4332570"/>
                  <a:pt x="758797" y="4258264"/>
                  <a:pt x="679697" y="4183958"/>
                </a:cubicBezTo>
                <a:cubicBezTo>
                  <a:pt x="559849" y="4073697"/>
                  <a:pt x="442397" y="3963437"/>
                  <a:pt x="346519" y="3831604"/>
                </a:cubicBezTo>
                <a:cubicBezTo>
                  <a:pt x="274610" y="3733328"/>
                  <a:pt x="221876" y="3623068"/>
                  <a:pt x="181128" y="3508013"/>
                </a:cubicBezTo>
                <a:cubicBezTo>
                  <a:pt x="135586" y="3376180"/>
                  <a:pt x="97234" y="3241950"/>
                  <a:pt x="58883" y="3105323"/>
                </a:cubicBezTo>
                <a:cubicBezTo>
                  <a:pt x="30119" y="3007047"/>
                  <a:pt x="18134" y="2906375"/>
                  <a:pt x="13340" y="2805702"/>
                </a:cubicBezTo>
                <a:cubicBezTo>
                  <a:pt x="10943" y="2740984"/>
                  <a:pt x="3752" y="2676266"/>
                  <a:pt x="1355" y="2609151"/>
                </a:cubicBezTo>
                <a:cubicBezTo>
                  <a:pt x="-3439" y="2470127"/>
                  <a:pt x="3752" y="2333500"/>
                  <a:pt x="34913" y="2196872"/>
                </a:cubicBezTo>
                <a:cubicBezTo>
                  <a:pt x="56486" y="2100994"/>
                  <a:pt x="80455" y="2007512"/>
                  <a:pt x="116410" y="1916427"/>
                </a:cubicBezTo>
                <a:cubicBezTo>
                  <a:pt x="142776" y="1846915"/>
                  <a:pt x="171540" y="1777403"/>
                  <a:pt x="219479" y="1715082"/>
                </a:cubicBezTo>
                <a:cubicBezTo>
                  <a:pt x="279404" y="1638379"/>
                  <a:pt x="308167" y="1552088"/>
                  <a:pt x="329740" y="1461004"/>
                </a:cubicBezTo>
                <a:cubicBezTo>
                  <a:pt x="358504" y="1336361"/>
                  <a:pt x="418428" y="1223704"/>
                  <a:pt x="502322" y="1125428"/>
                </a:cubicBezTo>
                <a:cubicBezTo>
                  <a:pt x="547864" y="1070298"/>
                  <a:pt x="593406" y="1012771"/>
                  <a:pt x="634155" y="952847"/>
                </a:cubicBezTo>
                <a:cubicBezTo>
                  <a:pt x="689285" y="868954"/>
                  <a:pt x="761194" y="797045"/>
                  <a:pt x="837897" y="729930"/>
                </a:cubicBezTo>
                <a:cubicBezTo>
                  <a:pt x="890630" y="681990"/>
                  <a:pt x="945761" y="636448"/>
                  <a:pt x="998494" y="588509"/>
                </a:cubicBezTo>
                <a:cubicBezTo>
                  <a:pt x="1027258" y="564539"/>
                  <a:pt x="1060815" y="540569"/>
                  <a:pt x="1094373" y="521394"/>
                </a:cubicBezTo>
                <a:cubicBezTo>
                  <a:pt x="1151900" y="485439"/>
                  <a:pt x="1211824" y="451882"/>
                  <a:pt x="1274145" y="427912"/>
                </a:cubicBezTo>
                <a:cubicBezTo>
                  <a:pt x="1355642" y="399148"/>
                  <a:pt x="1432345" y="356003"/>
                  <a:pt x="1516239" y="329636"/>
                </a:cubicBezTo>
                <a:cubicBezTo>
                  <a:pt x="1566575" y="312858"/>
                  <a:pt x="1616912" y="293681"/>
                  <a:pt x="1669645" y="281697"/>
                </a:cubicBezTo>
                <a:cubicBezTo>
                  <a:pt x="1751142" y="264917"/>
                  <a:pt x="1830242" y="238552"/>
                  <a:pt x="1909342" y="214582"/>
                </a:cubicBezTo>
                <a:cubicBezTo>
                  <a:pt x="2002823" y="185818"/>
                  <a:pt x="2098702" y="178627"/>
                  <a:pt x="2194581" y="164246"/>
                </a:cubicBezTo>
                <a:cubicBezTo>
                  <a:pt x="2225742" y="159452"/>
                  <a:pt x="2259299" y="159452"/>
                  <a:pt x="2290460" y="159452"/>
                </a:cubicBezTo>
                <a:cubicBezTo>
                  <a:pt x="2359972" y="164246"/>
                  <a:pt x="2431881" y="152261"/>
                  <a:pt x="2501393" y="149864"/>
                </a:cubicBezTo>
                <a:cubicBezTo>
                  <a:pt x="2525363" y="149864"/>
                  <a:pt x="2546935" y="149864"/>
                  <a:pt x="2570905" y="149864"/>
                </a:cubicBezTo>
                <a:cubicBezTo>
                  <a:pt x="2594874" y="149864"/>
                  <a:pt x="2618844" y="148066"/>
                  <a:pt x="2642814" y="146868"/>
                </a:cubicBezTo>
                <a:close/>
                <a:moveTo>
                  <a:pt x="4366159" y="108852"/>
                </a:moveTo>
                <a:cubicBezTo>
                  <a:pt x="4392001" y="114358"/>
                  <a:pt x="4417169" y="133683"/>
                  <a:pt x="4447731" y="135481"/>
                </a:cubicBezTo>
                <a:cubicBezTo>
                  <a:pt x="4464510" y="135481"/>
                  <a:pt x="4474097" y="154657"/>
                  <a:pt x="4462113" y="173832"/>
                </a:cubicBezTo>
                <a:cubicBezTo>
                  <a:pt x="4454922" y="185817"/>
                  <a:pt x="4454922" y="195405"/>
                  <a:pt x="4454922" y="207390"/>
                </a:cubicBezTo>
                <a:cubicBezTo>
                  <a:pt x="4457319" y="250535"/>
                  <a:pt x="4442937" y="272108"/>
                  <a:pt x="4404586" y="288887"/>
                </a:cubicBezTo>
                <a:cubicBezTo>
                  <a:pt x="4397395" y="291284"/>
                  <a:pt x="4390204" y="293681"/>
                  <a:pt x="4383013" y="296078"/>
                </a:cubicBezTo>
                <a:cubicBezTo>
                  <a:pt x="4363837" y="305665"/>
                  <a:pt x="4342264" y="310459"/>
                  <a:pt x="4342264" y="341620"/>
                </a:cubicBezTo>
                <a:cubicBezTo>
                  <a:pt x="4342264" y="372781"/>
                  <a:pt x="4296722" y="403941"/>
                  <a:pt x="4258370" y="406338"/>
                </a:cubicBezTo>
                <a:cubicBezTo>
                  <a:pt x="4229607" y="408735"/>
                  <a:pt x="4188858" y="375177"/>
                  <a:pt x="4181667" y="339223"/>
                </a:cubicBezTo>
                <a:cubicBezTo>
                  <a:pt x="4167286" y="284093"/>
                  <a:pt x="4169683" y="228963"/>
                  <a:pt x="4200843" y="181023"/>
                </a:cubicBezTo>
                <a:cubicBezTo>
                  <a:pt x="4229607" y="133084"/>
                  <a:pt x="4275149" y="104320"/>
                  <a:pt x="4339868" y="109114"/>
                </a:cubicBezTo>
                <a:cubicBezTo>
                  <a:pt x="4348857" y="106717"/>
                  <a:pt x="4357545" y="107017"/>
                  <a:pt x="4366159" y="108852"/>
                </a:cubicBezTo>
                <a:close/>
                <a:moveTo>
                  <a:pt x="3553849" y="764"/>
                </a:moveTo>
                <a:cubicBezTo>
                  <a:pt x="3565646" y="2149"/>
                  <a:pt x="3577032" y="5445"/>
                  <a:pt x="3587219" y="10839"/>
                </a:cubicBezTo>
                <a:cubicBezTo>
                  <a:pt x="3625571" y="30014"/>
                  <a:pt x="3654335" y="56381"/>
                  <a:pt x="3671113" y="94732"/>
                </a:cubicBezTo>
                <a:cubicBezTo>
                  <a:pt x="3680701" y="116304"/>
                  <a:pt x="3683098" y="130686"/>
                  <a:pt x="3651937" y="137877"/>
                </a:cubicBezTo>
                <a:cubicBezTo>
                  <a:pt x="3680701" y="157054"/>
                  <a:pt x="3673510" y="176229"/>
                  <a:pt x="3659128" y="193007"/>
                </a:cubicBezTo>
                <a:cubicBezTo>
                  <a:pt x="3654335" y="197801"/>
                  <a:pt x="3651937" y="202596"/>
                  <a:pt x="3649541" y="209786"/>
                </a:cubicBezTo>
                <a:cubicBezTo>
                  <a:pt x="3630365" y="288887"/>
                  <a:pt x="3568044" y="322444"/>
                  <a:pt x="3498532" y="284093"/>
                </a:cubicBezTo>
                <a:cubicBezTo>
                  <a:pt x="3436210" y="250535"/>
                  <a:pt x="3388271" y="204992"/>
                  <a:pt x="3388271" y="123495"/>
                </a:cubicBezTo>
                <a:cubicBezTo>
                  <a:pt x="3388271" y="101923"/>
                  <a:pt x="3395462" y="87541"/>
                  <a:pt x="3407447" y="70762"/>
                </a:cubicBezTo>
                <a:cubicBezTo>
                  <a:pt x="3419432" y="56381"/>
                  <a:pt x="3424226" y="34809"/>
                  <a:pt x="3450592" y="41999"/>
                </a:cubicBezTo>
                <a:cubicBezTo>
                  <a:pt x="3452989" y="44396"/>
                  <a:pt x="3455386" y="37205"/>
                  <a:pt x="3457783" y="34809"/>
                </a:cubicBezTo>
                <a:cubicBezTo>
                  <a:pt x="3479356" y="9640"/>
                  <a:pt x="3518456" y="-3394"/>
                  <a:pt x="3553849" y="764"/>
                </a:cubicBezTo>
                <a:close/>
              </a:path>
            </a:pathLst>
          </a:custGeom>
          <a:solidFill>
            <a:schemeClr val="tx2">
              <a:lumMod val="20000"/>
              <a:lumOff val="80000"/>
            </a:schemeClr>
          </a:solidFill>
        </p:spPr>
        <p:txBody>
          <a:bodyPr wrap="square">
            <a:noAutofit/>
          </a:bodyPr>
          <a:lstStyle/>
          <a:p>
            <a:endParaRPr lang="en-IN"/>
          </a:p>
        </p:txBody>
      </p:sp>
    </p:spTree>
    <p:extLst>
      <p:ext uri="{BB962C8B-B14F-4D97-AF65-F5344CB8AC3E}">
        <p14:creationId xmlns:p14="http://schemas.microsoft.com/office/powerpoint/2010/main" val="23280084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2_Blank">
    <p:bg>
      <p:bgPr>
        <a:solidFill>
          <a:srgbClr val="00B3B9"/>
        </a:solidFill>
        <a:effectLst/>
      </p:bgPr>
    </p:bg>
    <p:spTree>
      <p:nvGrpSpPr>
        <p:cNvPr id="1" name=""/>
        <p:cNvGrpSpPr/>
        <p:nvPr/>
      </p:nvGrpSpPr>
      <p:grpSpPr>
        <a:xfrm>
          <a:off x="0" y="0"/>
          <a:ext cx="0" cy="0"/>
          <a:chOff x="0" y="0"/>
          <a:chExt cx="0" cy="0"/>
        </a:xfrm>
      </p:grpSpPr>
      <p:pic>
        <p:nvPicPr>
          <p:cNvPr id="5" name="Picture 4" descr="A picture containing outdoor, sky, day&#10;&#10;Description automatically generated">
            <a:extLst>
              <a:ext uri="{FF2B5EF4-FFF2-40B4-BE49-F238E27FC236}">
                <a16:creationId xmlns:a16="http://schemas.microsoft.com/office/drawing/2014/main" id="{BE595F19-E6CB-34B3-0980-3B083F1CC5F6}"/>
              </a:ext>
            </a:extLst>
          </p:cNvPr>
          <p:cNvPicPr>
            <a:picLocks noChangeAspect="1"/>
          </p:cNvPicPr>
          <p:nvPr userDrawn="1"/>
        </p:nvPicPr>
        <p:blipFill rotWithShape="1">
          <a:blip r:embed="rId2">
            <a:duotone>
              <a:prstClr val="black"/>
              <a:schemeClr val="tx2">
                <a:tint val="45000"/>
                <a:satMod val="400000"/>
              </a:schemeClr>
            </a:duotone>
            <a:alphaModFix amt="8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27000" contrast="98000"/>
                    </a14:imgEffect>
                  </a14:imgLayer>
                </a14:imgProps>
              </a:ext>
              <a:ext uri="{28A0092B-C50C-407E-A947-70E740481C1C}">
                <a14:useLocalDpi xmlns:a14="http://schemas.microsoft.com/office/drawing/2010/main"/>
              </a:ext>
            </a:extLst>
          </a:blip>
          <a:srcRect l="11315"/>
          <a:stretch/>
        </p:blipFill>
        <p:spPr>
          <a:xfrm rot="16200000">
            <a:off x="2666999" y="-2666999"/>
            <a:ext cx="6858001" cy="12192000"/>
          </a:xfrm>
          <a:prstGeom prst="rect">
            <a:avLst/>
          </a:prstGeom>
        </p:spPr>
      </p:pic>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1424FE08-F224-9A35-A7D0-895040A33732}"/>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4206188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96A35B37-C842-4852-980B-C663544714FE}" type="datetimeFigureOut">
              <a:rPr lang="en-US" smtClean="0"/>
              <a:t>1/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2141486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reserve="1">
  <p:cSld name="7_Blank">
    <p:bg>
      <p:bgPr>
        <a:solidFill>
          <a:schemeClr val="bg2">
            <a:lumMod val="20000"/>
            <a:lumOff val="80000"/>
          </a:schemeClr>
        </a:solidFill>
        <a:effectLst/>
      </p:bgPr>
    </p:bg>
    <p:spTree>
      <p:nvGrpSpPr>
        <p:cNvPr id="1" name=""/>
        <p:cNvGrpSpPr/>
        <p:nvPr/>
      </p:nvGrpSpPr>
      <p:grpSpPr>
        <a:xfrm>
          <a:off x="0" y="0"/>
          <a:ext cx="0" cy="0"/>
          <a:chOff x="0" y="0"/>
          <a:chExt cx="0" cy="0"/>
        </a:xfrm>
      </p:grpSpPr>
      <p:pic>
        <p:nvPicPr>
          <p:cNvPr id="5" name="Picture 4" descr="A picture containing outdoor, sky, day&#10;&#10;Description automatically generated">
            <a:extLst>
              <a:ext uri="{FF2B5EF4-FFF2-40B4-BE49-F238E27FC236}">
                <a16:creationId xmlns:a16="http://schemas.microsoft.com/office/drawing/2014/main" id="{BE595F19-E6CB-34B3-0980-3B083F1CC5F6}"/>
              </a:ext>
            </a:extLst>
          </p:cNvPr>
          <p:cNvPicPr>
            <a:picLocks noChangeAspect="1"/>
          </p:cNvPicPr>
          <p:nvPr userDrawn="1"/>
        </p:nvPicPr>
        <p:blipFill rotWithShape="1">
          <a:blip r:embed="rId2">
            <a:duotone>
              <a:prstClr val="black"/>
              <a:schemeClr val="tx2">
                <a:tint val="45000"/>
                <a:satMod val="400000"/>
              </a:schemeClr>
            </a:duotone>
            <a:alphaModFix amt="8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27000" contrast="98000"/>
                    </a14:imgEffect>
                  </a14:imgLayer>
                </a14:imgProps>
              </a:ext>
              <a:ext uri="{28A0092B-C50C-407E-A947-70E740481C1C}">
                <a14:useLocalDpi xmlns:a14="http://schemas.microsoft.com/office/drawing/2010/main"/>
              </a:ext>
            </a:extLst>
          </a:blip>
          <a:srcRect l="11315"/>
          <a:stretch/>
        </p:blipFill>
        <p:spPr>
          <a:xfrm rot="16200000">
            <a:off x="2666999" y="-2666999"/>
            <a:ext cx="6858001" cy="12192000"/>
          </a:xfrm>
          <a:prstGeom prst="rect">
            <a:avLst/>
          </a:prstGeom>
        </p:spPr>
      </p:pic>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907CFBFC-5470-0C32-3FC7-3523AB7A8645}"/>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3270172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4_Blank">
    <p:bg>
      <p:bgPr>
        <a:solidFill>
          <a:schemeClr val="tx2"/>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97344" y="-442497"/>
            <a:ext cx="14067532" cy="8873482"/>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A6E66DC6-8D6E-7CA0-8B2B-9B65823CCAAE}"/>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15420886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obj" preserve="1">
  <p:cSld name="13_Blank">
    <p:bg>
      <p:bgPr>
        <a:solidFill>
          <a:srgbClr val="F15EA4"/>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A6E66DC6-8D6E-7CA0-8B2B-9B65823CCAAE}"/>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pic>
        <p:nvPicPr>
          <p:cNvPr id="5" name="Graphic 4">
            <a:extLst>
              <a:ext uri="{FF2B5EF4-FFF2-40B4-BE49-F238E27FC236}">
                <a16:creationId xmlns:a16="http://schemas.microsoft.com/office/drawing/2014/main" id="{F4CDEF4F-1FF4-532A-5E06-BD4FF05EEB88}"/>
              </a:ext>
            </a:extLst>
          </p:cNvPr>
          <p:cNvPicPr>
            <a:picLocks noChangeAspect="1"/>
          </p:cNvPicPr>
          <p:nvPr userDrawn="1"/>
        </p:nvPicPr>
        <p:blipFill rotWithShape="1">
          <a:blip r:embed="rId4">
            <a:extLst>
              <a:ext uri="{28A0092B-C50C-407E-A947-70E740481C1C}">
                <a14:useLocalDpi xmlns:a14="http://schemas.microsoft.com/office/drawing/2010/main"/>
              </a:ext>
              <a:ext uri="{96DAC541-7B7A-43D3-8B79-37D633B846F1}">
                <asvg:svgBlip xmlns="" xmlns:asvg="http://schemas.microsoft.com/office/drawing/2016/SVG/main" r:embed="rId5"/>
              </a:ext>
            </a:extLst>
          </a:blip>
          <a:srcRect t="15982" b="20940"/>
          <a:stretch/>
        </p:blipFill>
        <p:spPr>
          <a:xfrm>
            <a:off x="-397344" y="-442497"/>
            <a:ext cx="14067532" cy="8873482"/>
          </a:xfrm>
          <a:prstGeom prst="rect">
            <a:avLst/>
          </a:prstGeom>
        </p:spPr>
      </p:pic>
    </p:spTree>
    <p:extLst>
      <p:ext uri="{BB962C8B-B14F-4D97-AF65-F5344CB8AC3E}">
        <p14:creationId xmlns:p14="http://schemas.microsoft.com/office/powerpoint/2010/main" val="16265969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10_Blank">
    <p:bg>
      <p:bgPr>
        <a:solidFill>
          <a:schemeClr val="tx2"/>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97344" y="-442497"/>
            <a:ext cx="14067532" cy="8873482"/>
          </a:xfrm>
          <a:prstGeom prst="rect">
            <a:avLst/>
          </a:prstGeom>
        </p:spPr>
      </p:pic>
    </p:spTree>
    <p:extLst>
      <p:ext uri="{BB962C8B-B14F-4D97-AF65-F5344CB8AC3E}">
        <p14:creationId xmlns:p14="http://schemas.microsoft.com/office/powerpoint/2010/main" val="40276326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obj" preserve="1">
  <p:cSld name="6_Blank">
    <p:bg>
      <p:bgPr>
        <a:solidFill>
          <a:srgbClr val="00A94E"/>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97344" y="-442497"/>
            <a:ext cx="14067532" cy="8873482"/>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A6E66DC6-8D6E-7CA0-8B2B-9B65823CCAAE}"/>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grpSp>
        <p:nvGrpSpPr>
          <p:cNvPr id="5" name="Group 4">
            <a:extLst>
              <a:ext uri="{FF2B5EF4-FFF2-40B4-BE49-F238E27FC236}">
                <a16:creationId xmlns:a16="http://schemas.microsoft.com/office/drawing/2014/main" id="{7621E84D-BCA3-46F8-C38E-2C2EED03F0FA}"/>
              </a:ext>
            </a:extLst>
          </p:cNvPr>
          <p:cNvGrpSpPr/>
          <p:nvPr userDrawn="1"/>
        </p:nvGrpSpPr>
        <p:grpSpPr>
          <a:xfrm>
            <a:off x="0" y="6747328"/>
            <a:ext cx="12192000" cy="139700"/>
            <a:chOff x="0" y="6747328"/>
            <a:chExt cx="12192000" cy="139700"/>
          </a:xfrm>
        </p:grpSpPr>
        <p:sp>
          <p:nvSpPr>
            <p:cNvPr id="8" name="Freeform: Shape 7">
              <a:extLst>
                <a:ext uri="{FF2B5EF4-FFF2-40B4-BE49-F238E27FC236}">
                  <a16:creationId xmlns:a16="http://schemas.microsoft.com/office/drawing/2014/main" id="{9CC64F9C-C3C1-95D7-4E55-CA36219707A1}"/>
                </a:ext>
              </a:extLst>
            </p:cNvPr>
            <p:cNvSpPr/>
            <p:nvPr/>
          </p:nvSpPr>
          <p:spPr>
            <a:xfrm>
              <a:off x="0"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bg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9" name="Freeform: Shape 8">
              <a:extLst>
                <a:ext uri="{FF2B5EF4-FFF2-40B4-BE49-F238E27FC236}">
                  <a16:creationId xmlns:a16="http://schemas.microsoft.com/office/drawing/2014/main" id="{6E6EF12B-7435-ABEB-BA17-C14A0D76C794}"/>
                </a:ext>
              </a:extLst>
            </p:cNvPr>
            <p:cNvSpPr/>
            <p:nvPr/>
          </p:nvSpPr>
          <p:spPr>
            <a:xfrm>
              <a:off x="1742169"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chemeClr val="accent3"/>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10" name="Freeform: Shape 9">
              <a:extLst>
                <a:ext uri="{FF2B5EF4-FFF2-40B4-BE49-F238E27FC236}">
                  <a16:creationId xmlns:a16="http://schemas.microsoft.com/office/drawing/2014/main" id="{595A60DB-6F17-C8B1-78F6-C7D6A8CC9188}"/>
                </a:ext>
              </a:extLst>
            </p:cNvPr>
            <p:cNvSpPr/>
            <p:nvPr/>
          </p:nvSpPr>
          <p:spPr>
            <a:xfrm>
              <a:off x="3481157"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2"/>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11" name="Freeform: Shape 10">
              <a:extLst>
                <a:ext uri="{FF2B5EF4-FFF2-40B4-BE49-F238E27FC236}">
                  <a16:creationId xmlns:a16="http://schemas.microsoft.com/office/drawing/2014/main" id="{36E8123B-4320-5C64-2F86-289ABFF65FC2}"/>
                </a:ext>
              </a:extLst>
            </p:cNvPr>
            <p:cNvSpPr/>
            <p:nvPr/>
          </p:nvSpPr>
          <p:spPr>
            <a:xfrm>
              <a:off x="5223325" y="6747328"/>
              <a:ext cx="1742165" cy="139700"/>
            </a:xfrm>
            <a:custGeom>
              <a:avLst/>
              <a:gdLst>
                <a:gd name="connsiteX0" fmla="*/ 0 w 521969"/>
                <a:gd name="connsiteY0" fmla="*/ 0 h 335280"/>
                <a:gd name="connsiteX1" fmla="*/ 521970 w 521969"/>
                <a:gd name="connsiteY1" fmla="*/ 0 h 335280"/>
                <a:gd name="connsiteX2" fmla="*/ 521970 w 521969"/>
                <a:gd name="connsiteY2" fmla="*/ 335280 h 335280"/>
                <a:gd name="connsiteX3" fmla="*/ 0 w 521969"/>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69" h="335280">
                  <a:moveTo>
                    <a:pt x="0" y="0"/>
                  </a:moveTo>
                  <a:lnTo>
                    <a:pt x="521970" y="0"/>
                  </a:lnTo>
                  <a:lnTo>
                    <a:pt x="521970" y="335280"/>
                  </a:lnTo>
                  <a:lnTo>
                    <a:pt x="0" y="335280"/>
                  </a:lnTo>
                  <a:close/>
                </a:path>
              </a:pathLst>
            </a:custGeom>
            <a:solidFill>
              <a:srgbClr val="FFC0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12" name="Freeform: Shape 11">
              <a:extLst>
                <a:ext uri="{FF2B5EF4-FFF2-40B4-BE49-F238E27FC236}">
                  <a16:creationId xmlns:a16="http://schemas.microsoft.com/office/drawing/2014/main" id="{E8BDB741-3751-A616-11FC-DCBDE23A7FFB}"/>
                </a:ext>
              </a:extLst>
            </p:cNvPr>
            <p:cNvSpPr/>
            <p:nvPr/>
          </p:nvSpPr>
          <p:spPr>
            <a:xfrm>
              <a:off x="6965494"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accent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13" name="Freeform: Shape 12">
              <a:extLst>
                <a:ext uri="{FF2B5EF4-FFF2-40B4-BE49-F238E27FC236}">
                  <a16:creationId xmlns:a16="http://schemas.microsoft.com/office/drawing/2014/main" id="{DD7F1400-30BE-44AB-8CCD-CAF534D495CF}"/>
                </a:ext>
              </a:extLst>
            </p:cNvPr>
            <p:cNvSpPr/>
            <p:nvPr/>
          </p:nvSpPr>
          <p:spPr>
            <a:xfrm>
              <a:off x="8707663"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chemeClr val="tx2">
                <a:lumMod val="75000"/>
              </a:schemeClr>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sp>
          <p:nvSpPr>
            <p:cNvPr id="14" name="Freeform: Shape 13">
              <a:extLst>
                <a:ext uri="{FF2B5EF4-FFF2-40B4-BE49-F238E27FC236}">
                  <a16:creationId xmlns:a16="http://schemas.microsoft.com/office/drawing/2014/main" id="{EC17A3FA-B006-39B5-9C35-4CD8AEB367BD}"/>
                </a:ext>
              </a:extLst>
            </p:cNvPr>
            <p:cNvSpPr/>
            <p:nvPr/>
          </p:nvSpPr>
          <p:spPr>
            <a:xfrm>
              <a:off x="10449831" y="6747328"/>
              <a:ext cx="1742169" cy="139700"/>
            </a:xfrm>
            <a:custGeom>
              <a:avLst/>
              <a:gdLst>
                <a:gd name="connsiteX0" fmla="*/ 0 w 521970"/>
                <a:gd name="connsiteY0" fmla="*/ 0 h 335280"/>
                <a:gd name="connsiteX1" fmla="*/ 521970 w 521970"/>
                <a:gd name="connsiteY1" fmla="*/ 0 h 335280"/>
                <a:gd name="connsiteX2" fmla="*/ 521970 w 521970"/>
                <a:gd name="connsiteY2" fmla="*/ 335280 h 335280"/>
                <a:gd name="connsiteX3" fmla="*/ 0 w 521970"/>
                <a:gd name="connsiteY3" fmla="*/ 335280 h 335280"/>
              </a:gdLst>
              <a:ahLst/>
              <a:cxnLst>
                <a:cxn ang="0">
                  <a:pos x="connsiteX0" y="connsiteY0"/>
                </a:cxn>
                <a:cxn ang="0">
                  <a:pos x="connsiteX1" y="connsiteY1"/>
                </a:cxn>
                <a:cxn ang="0">
                  <a:pos x="connsiteX2" y="connsiteY2"/>
                </a:cxn>
                <a:cxn ang="0">
                  <a:pos x="connsiteX3" y="connsiteY3"/>
                </a:cxn>
              </a:cxnLst>
              <a:rect l="l" t="t" r="r" b="b"/>
              <a:pathLst>
                <a:path w="521970" h="335280">
                  <a:moveTo>
                    <a:pt x="0" y="0"/>
                  </a:moveTo>
                  <a:lnTo>
                    <a:pt x="521970" y="0"/>
                  </a:lnTo>
                  <a:lnTo>
                    <a:pt x="521970" y="335280"/>
                  </a:lnTo>
                  <a:lnTo>
                    <a:pt x="0" y="335280"/>
                  </a:lnTo>
                  <a:close/>
                </a:path>
              </a:pathLst>
            </a:custGeom>
            <a:solidFill>
              <a:srgbClr val="00B3B9"/>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0A0A0A"/>
                </a:solidFill>
                <a:effectLst/>
                <a:uLnTx/>
                <a:uFillTx/>
              </a:endParaRPr>
            </a:p>
          </p:txBody>
        </p:sp>
      </p:grpSp>
    </p:spTree>
    <p:extLst>
      <p:ext uri="{BB962C8B-B14F-4D97-AF65-F5344CB8AC3E}">
        <p14:creationId xmlns:p14="http://schemas.microsoft.com/office/powerpoint/2010/main" val="34226755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obj" preserve="1">
  <p:cSld name="5_Blank">
    <p:bg>
      <p:bgPr>
        <a:solidFill>
          <a:srgbClr val="F7961C"/>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24772" y="-413469"/>
            <a:ext cx="14067532" cy="8873482"/>
          </a:xfrm>
          <a:prstGeom prst="rect">
            <a:avLst/>
          </a:prstGeom>
        </p:spPr>
      </p:pic>
      <p:pic>
        <p:nvPicPr>
          <p:cNvPr id="7" name="Picture 6" descr="A picture containing drawing&#10;&#10;Description automatically generated">
            <a:extLst>
              <a:ext uri="{FF2B5EF4-FFF2-40B4-BE49-F238E27FC236}">
                <a16:creationId xmlns:a16="http://schemas.microsoft.com/office/drawing/2014/main" id="{A6E66DC6-8D6E-7CA0-8B2B-9B65823CCAAE}"/>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17472593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reserve="1">
  <p:cSld name="8_Blank">
    <p:bg>
      <p:bgPr>
        <a:solidFill>
          <a:srgbClr val="F7961C"/>
        </a:solidFill>
        <a:effectLst/>
      </p:bgPr>
    </p:bg>
    <p:spTree>
      <p:nvGrpSpPr>
        <p:cNvPr id="1" name=""/>
        <p:cNvGrpSpPr/>
        <p:nvPr/>
      </p:nvGrpSpPr>
      <p:grpSpPr>
        <a:xfrm>
          <a:off x="0" y="0"/>
          <a:ext cx="0" cy="0"/>
          <a:chOff x="0" y="0"/>
          <a:chExt cx="0" cy="0"/>
        </a:xfrm>
      </p:grpSpPr>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24772" y="-413469"/>
            <a:ext cx="14067532" cy="8873482"/>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0E88BD50-9536-3638-BA01-767B451D548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21555572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obj" preserve="1">
  <p:cSld name="9_Blank">
    <p:bg>
      <p:bgPr>
        <a:gradFill>
          <a:gsLst>
            <a:gs pos="46000">
              <a:schemeClr val="bg2">
                <a:lumMod val="5000"/>
                <a:lumOff val="95000"/>
              </a:schemeClr>
            </a:gs>
            <a:gs pos="0">
              <a:schemeClr val="bg2">
                <a:lumMod val="10000"/>
                <a:lumOff val="90000"/>
              </a:schemeClr>
            </a:gs>
            <a:gs pos="100000">
              <a:schemeClr val="bg2">
                <a:lumMod val="10000"/>
                <a:lumOff val="90000"/>
              </a:schemeClr>
            </a:gs>
          </a:gsLst>
          <a:lin ang="108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24772" y="-413469"/>
            <a:ext cx="14067532" cy="8873482"/>
          </a:xfrm>
          <a:prstGeom prst="rect">
            <a:avLst/>
          </a:prstGeom>
        </p:spPr>
      </p:pic>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pic>
        <p:nvPicPr>
          <p:cNvPr id="5" name="Picture 4" descr="A picture containing drawing&#10;&#10;Description automatically generated">
            <a:extLst>
              <a:ext uri="{FF2B5EF4-FFF2-40B4-BE49-F238E27FC236}">
                <a16:creationId xmlns:a16="http://schemas.microsoft.com/office/drawing/2014/main" id="{0E88BD50-9536-3638-BA01-767B451D5488}"/>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2591228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reserve="1">
  <p:cSld name="11_Blank">
    <p:bg>
      <p:bgPr>
        <a:solidFill>
          <a:schemeClr val="bg2"/>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2AE126E9-74CC-C1C3-B291-88A87464CC9C}"/>
              </a:ext>
            </a:extLst>
          </p:cNvPr>
          <p:cNvPicPr>
            <a:picLocks noChangeAspect="1"/>
          </p:cNvPicPr>
          <p:nvPr userDrawn="1"/>
        </p:nvPicPr>
        <p:blipFill rotWithShape="1">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rcRect t="15982" b="20940"/>
          <a:stretch/>
        </p:blipFill>
        <p:spPr>
          <a:xfrm>
            <a:off x="-324772" y="-413469"/>
            <a:ext cx="14067532" cy="8873482"/>
          </a:xfrm>
          <a:prstGeom prst="rect">
            <a:avLst/>
          </a:prstGeom>
        </p:spPr>
      </p:pic>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tx1">
                    <a:lumMod val="75000"/>
                    <a:lumOff val="25000"/>
                  </a:schemeClr>
                </a:solidFill>
              </a:defRPr>
            </a:lvl1pPr>
          </a:lstStyle>
          <a:p>
            <a:fld id="{8C1CC9D4-B77B-4D62-AC93-E2BD36A15066}" type="slidenum">
              <a:rPr lang="en-IN" smtClean="0"/>
              <a:pPr/>
              <a:t>‹#›</a:t>
            </a:fld>
            <a:endParaRPr lang="en-IN"/>
          </a:p>
        </p:txBody>
      </p:sp>
      <p:pic>
        <p:nvPicPr>
          <p:cNvPr id="7" name="Picture 6" descr="A picture containing drawing&#10;&#10;Description automatically generated">
            <a:extLst>
              <a:ext uri="{FF2B5EF4-FFF2-40B4-BE49-F238E27FC236}">
                <a16:creationId xmlns:a16="http://schemas.microsoft.com/office/drawing/2014/main" id="{6839DEDA-9859-7DF5-1D02-048D06FAFD76}"/>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12598726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reserve="1">
  <p:cSld name="3_Blank">
    <p:bg>
      <p:bgPr>
        <a:solidFill>
          <a:schemeClr val="tx2"/>
        </a:solidFill>
        <a:effectLst/>
      </p:bgPr>
    </p:bg>
    <p:spTree>
      <p:nvGrpSpPr>
        <p:cNvPr id="1" name=""/>
        <p:cNvGrpSpPr/>
        <p:nvPr/>
      </p:nvGrpSpPr>
      <p:grpSpPr>
        <a:xfrm>
          <a:off x="0" y="0"/>
          <a:ext cx="0" cy="0"/>
          <a:chOff x="0" y="0"/>
          <a:chExt cx="0" cy="0"/>
        </a:xfrm>
      </p:grpSpPr>
      <p:pic>
        <p:nvPicPr>
          <p:cNvPr id="5" name="Picture 4" descr="A picture containing outdoor, sky, day&#10;&#10;Description automatically generated">
            <a:extLst>
              <a:ext uri="{FF2B5EF4-FFF2-40B4-BE49-F238E27FC236}">
                <a16:creationId xmlns:a16="http://schemas.microsoft.com/office/drawing/2014/main" id="{BE595F19-E6CB-34B3-0980-3B083F1CC5F6}"/>
              </a:ext>
            </a:extLst>
          </p:cNvPr>
          <p:cNvPicPr>
            <a:picLocks noChangeAspect="1"/>
          </p:cNvPicPr>
          <p:nvPr userDrawn="1"/>
        </p:nvPicPr>
        <p:blipFill rotWithShape="1">
          <a:blip r:embed="rId2">
            <a:duotone>
              <a:prstClr val="black"/>
              <a:schemeClr val="tx2">
                <a:tint val="45000"/>
                <a:satMod val="400000"/>
              </a:schemeClr>
            </a:duotone>
            <a:alphaModFix amt="8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27000" contrast="98000"/>
                    </a14:imgEffect>
                  </a14:imgLayer>
                </a14:imgProps>
              </a:ext>
              <a:ext uri="{28A0092B-C50C-407E-A947-70E740481C1C}">
                <a14:useLocalDpi xmlns:a14="http://schemas.microsoft.com/office/drawing/2010/main"/>
              </a:ext>
            </a:extLst>
          </a:blip>
          <a:srcRect l="11315"/>
          <a:stretch/>
        </p:blipFill>
        <p:spPr>
          <a:xfrm rot="16200000">
            <a:off x="2666999" y="-2667000"/>
            <a:ext cx="6858001" cy="12192000"/>
          </a:xfrm>
          <a:prstGeom prst="rect">
            <a:avLst/>
          </a:prstGeom>
        </p:spPr>
      </p:pic>
      <p:sp>
        <p:nvSpPr>
          <p:cNvPr id="4" name="Slide Number Placeholder 4">
            <a:extLst>
              <a:ext uri="{FF2B5EF4-FFF2-40B4-BE49-F238E27FC236}">
                <a16:creationId xmlns:a16="http://schemas.microsoft.com/office/drawing/2014/main" id="{112D37AA-ECB0-FB89-0FA9-CAFECC841456}"/>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6" name="Picture 5" descr="A picture containing drawing&#10;&#10;Description automatically generated">
            <a:extLst>
              <a:ext uri="{FF2B5EF4-FFF2-40B4-BE49-F238E27FC236}">
                <a16:creationId xmlns:a16="http://schemas.microsoft.com/office/drawing/2014/main" id="{4B42BF9D-333E-5407-F481-23AB3FC3E4D5}"/>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17096838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A35B37-C842-4852-980B-C663544714FE}" type="datetimeFigureOut">
              <a:rPr lang="en-US" smtClean="0"/>
              <a:t>1/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41433056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1_Blank">
    <p:bg>
      <p:bgPr>
        <a:solidFill>
          <a:schemeClr val="bg2"/>
        </a:solidFill>
        <a:effectLst/>
      </p:bgPr>
    </p:bg>
    <p:spTree>
      <p:nvGrpSpPr>
        <p:cNvPr id="1" name=""/>
        <p:cNvGrpSpPr/>
        <p:nvPr/>
      </p:nvGrpSpPr>
      <p:grpSpPr>
        <a:xfrm>
          <a:off x="0" y="0"/>
          <a:ext cx="0" cy="0"/>
          <a:chOff x="0" y="0"/>
          <a:chExt cx="0" cy="0"/>
        </a:xfrm>
      </p:grpSpPr>
      <p:pic>
        <p:nvPicPr>
          <p:cNvPr id="5" name="Picture 4" descr="A picture containing outdoor, sky, day&#10;&#10;Description automatically generated">
            <a:extLst>
              <a:ext uri="{FF2B5EF4-FFF2-40B4-BE49-F238E27FC236}">
                <a16:creationId xmlns:a16="http://schemas.microsoft.com/office/drawing/2014/main" id="{BE595F19-E6CB-34B3-0980-3B083F1CC5F6}"/>
              </a:ext>
            </a:extLst>
          </p:cNvPr>
          <p:cNvPicPr>
            <a:picLocks noChangeAspect="1"/>
          </p:cNvPicPr>
          <p:nvPr userDrawn="1"/>
        </p:nvPicPr>
        <p:blipFill rotWithShape="1">
          <a:blip r:embed="rId2">
            <a:duotone>
              <a:schemeClr val="bg2">
                <a:shade val="45000"/>
                <a:satMod val="135000"/>
              </a:schemeClr>
              <a:prstClr val="white"/>
            </a:duotone>
            <a:alphaModFix amt="49000"/>
            <a:extLst>
              <a:ext uri="{BEBA8EAE-BF5A-486C-A8C5-ECC9F3942E4B}">
                <a14:imgProps xmlns:a14="http://schemas.microsoft.com/office/drawing/2010/main">
                  <a14:imgLayer r:embed="rId3">
                    <a14:imgEffect>
                      <a14:saturation sat="0"/>
                    </a14:imgEffect>
                    <a14:imgEffect>
                      <a14:brightnessContrast bright="-36000" contrast="62000"/>
                    </a14:imgEffect>
                  </a14:imgLayer>
                </a14:imgProps>
              </a:ext>
              <a:ext uri="{28A0092B-C50C-407E-A947-70E740481C1C}">
                <a14:useLocalDpi xmlns:a14="http://schemas.microsoft.com/office/drawing/2010/main"/>
              </a:ext>
            </a:extLst>
          </a:blip>
          <a:srcRect l="11315"/>
          <a:stretch/>
        </p:blipFill>
        <p:spPr>
          <a:xfrm rot="16200000">
            <a:off x="2666999" y="-2667000"/>
            <a:ext cx="6858001" cy="12192000"/>
          </a:xfrm>
          <a:prstGeom prst="rect">
            <a:avLst/>
          </a:prstGeom>
        </p:spPr>
      </p:pic>
      <p:pic>
        <p:nvPicPr>
          <p:cNvPr id="6" name="Picture 5" descr="A picture containing text&#10;&#10;Description automatically generated">
            <a:extLst>
              <a:ext uri="{FF2B5EF4-FFF2-40B4-BE49-F238E27FC236}">
                <a16:creationId xmlns:a16="http://schemas.microsoft.com/office/drawing/2014/main" id="{DE38EE0B-F553-DE35-B03C-99A6E199183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Slide Number Placeholder 4">
            <a:extLst>
              <a:ext uri="{FF2B5EF4-FFF2-40B4-BE49-F238E27FC236}">
                <a16:creationId xmlns:a16="http://schemas.microsoft.com/office/drawing/2014/main" id="{C1684423-8A99-5512-46D3-E340DB7205A0}"/>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100">
                <a:solidFill>
                  <a:schemeClr val="bg1"/>
                </a:solidFill>
              </a:defRPr>
            </a:lvl1pPr>
          </a:lstStyle>
          <a:p>
            <a:fld id="{8C1CC9D4-B77B-4D62-AC93-E2BD36A15066}" type="slidenum">
              <a:rPr lang="en-IN" smtClean="0"/>
              <a:pPr/>
              <a:t>‹#›</a:t>
            </a:fld>
            <a:endParaRPr lang="en-IN"/>
          </a:p>
        </p:txBody>
      </p:sp>
      <p:pic>
        <p:nvPicPr>
          <p:cNvPr id="16" name="Picture 15" descr="A picture containing drawing&#10;&#10;Description automatically generated">
            <a:extLst>
              <a:ext uri="{FF2B5EF4-FFF2-40B4-BE49-F238E27FC236}">
                <a16:creationId xmlns:a16="http://schemas.microsoft.com/office/drawing/2014/main" id="{B10A172B-FDA0-4419-6EAB-BFCE287707A3}"/>
              </a:ext>
            </a:extLst>
          </p:cNvPr>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Tree>
    <p:extLst>
      <p:ext uri="{BB962C8B-B14F-4D97-AF65-F5344CB8AC3E}">
        <p14:creationId xmlns:p14="http://schemas.microsoft.com/office/powerpoint/2010/main" val="5727147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70621-3421-407D-B76A-EB564B1F9D1F}"/>
              </a:ext>
            </a:extLst>
          </p:cNvPr>
          <p:cNvSpPr>
            <a:spLocks noGrp="1"/>
          </p:cNvSpPr>
          <p:nvPr>
            <p:ph type="title"/>
          </p:nvPr>
        </p:nvSpPr>
        <p:spPr>
          <a:xfrm>
            <a:off x="228600" y="365125"/>
            <a:ext cx="117348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3622C301-F296-464D-BC4F-20AB816CA650}"/>
              </a:ext>
            </a:extLst>
          </p:cNvPr>
          <p:cNvSpPr>
            <a:spLocks noGrp="1"/>
          </p:cNvSpPr>
          <p:nvPr>
            <p:ph type="dt" sz="half" idx="10"/>
          </p:nvPr>
        </p:nvSpPr>
        <p:spPr>
          <a:xfrm>
            <a:off x="228600" y="6459535"/>
            <a:ext cx="2743912" cy="32226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4FF23472-F554-4526-AB6F-214E3D992384}"/>
              </a:ext>
            </a:extLst>
          </p:cNvPr>
          <p:cNvSpPr>
            <a:spLocks noGrp="1"/>
          </p:cNvSpPr>
          <p:nvPr>
            <p:ph type="ftr" sz="quarter" idx="11"/>
          </p:nvPr>
        </p:nvSpPr>
        <p:spPr>
          <a:xfrm>
            <a:off x="4038956" y="6459535"/>
            <a:ext cx="4114800" cy="32226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8816061-81BE-443D-ACBD-D472497F8161}"/>
              </a:ext>
            </a:extLst>
          </p:cNvPr>
          <p:cNvSpPr>
            <a:spLocks noGrp="1"/>
          </p:cNvSpPr>
          <p:nvPr>
            <p:ph type="sldNum" sz="quarter" idx="12"/>
          </p:nvPr>
        </p:nvSpPr>
        <p:spPr>
          <a:xfrm>
            <a:off x="9220200" y="6459535"/>
            <a:ext cx="2743200" cy="322265"/>
          </a:xfrm>
          <a:prstGeom prst="rect">
            <a:avLst/>
          </a:prstGeom>
        </p:spPr>
        <p:txBody>
          <a:bodyPr/>
          <a:lstStyle/>
          <a:p>
            <a:fld id="{93F59A90-A6BC-432D-B706-145B67C9308B}" type="slidenum">
              <a:rPr lang="en-US" smtClean="0"/>
              <a:t>‹#›</a:t>
            </a:fld>
            <a:endParaRPr lang="en-US"/>
          </a:p>
        </p:txBody>
      </p:sp>
    </p:spTree>
    <p:extLst>
      <p:ext uri="{BB962C8B-B14F-4D97-AF65-F5344CB8AC3E}">
        <p14:creationId xmlns:p14="http://schemas.microsoft.com/office/powerpoint/2010/main" val="217650348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34972-E74A-DA42-BD2E-1EB6532AE98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327043-5359-0E47-B4A7-A0F802972D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F794616-4D3E-5844-8777-059D67505C7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89F6172-3568-9246-9EA2-4F323902A4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E83F06-353A-5C4C-A9B0-CEB82C09EA13}"/>
              </a:ext>
            </a:extLst>
          </p:cNvPr>
          <p:cNvSpPr>
            <a:spLocks noGrp="1"/>
          </p:cNvSpPr>
          <p:nvPr>
            <p:ph type="sldNum" sz="quarter" idx="12"/>
          </p:nvPr>
        </p:nvSpPr>
        <p:spPr/>
        <p:txBody>
          <a:bodyPr/>
          <a:lstStyle/>
          <a:p>
            <a:fld id="{0C089FB8-8F2C-B24B-932C-18DFDAAB7F56}" type="slidenum">
              <a:rPr lang="en-US" smtClean="0"/>
              <a:t>‹#›</a:t>
            </a:fld>
            <a:endParaRPr lang="en-US"/>
          </a:p>
        </p:txBody>
      </p:sp>
    </p:spTree>
    <p:extLst>
      <p:ext uri="{BB962C8B-B14F-4D97-AF65-F5344CB8AC3E}">
        <p14:creationId xmlns:p14="http://schemas.microsoft.com/office/powerpoint/2010/main" val="6329113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60B8C-E984-6E4E-94EE-83D5DAA01B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D0D1B6-AB96-8F46-82C7-2C51ABC8885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49BBB7-A882-4245-BFB7-9491C024BDC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024F7FB-DA77-8448-A776-2BD4318E26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FF7CDC-EFF1-E745-BB47-5461E2EA55E3}"/>
              </a:ext>
            </a:extLst>
          </p:cNvPr>
          <p:cNvSpPr>
            <a:spLocks noGrp="1"/>
          </p:cNvSpPr>
          <p:nvPr>
            <p:ph type="sldNum" sz="quarter" idx="12"/>
          </p:nvPr>
        </p:nvSpPr>
        <p:spPr/>
        <p:txBody>
          <a:bodyPr/>
          <a:lstStyle/>
          <a:p>
            <a:fld id="{0C089FB8-8F2C-B24B-932C-18DFDAAB7F56}" type="slidenum">
              <a:rPr lang="en-US" smtClean="0"/>
              <a:t>‹#›</a:t>
            </a:fld>
            <a:endParaRPr lang="en-US"/>
          </a:p>
        </p:txBody>
      </p:sp>
    </p:spTree>
    <p:extLst>
      <p:ext uri="{BB962C8B-B14F-4D97-AF65-F5344CB8AC3E}">
        <p14:creationId xmlns:p14="http://schemas.microsoft.com/office/powerpoint/2010/main" val="37790197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724400" y="6356350"/>
            <a:ext cx="2743200" cy="365125"/>
          </a:xfrm>
          <a:prstGeom prst="rect">
            <a:avLst/>
          </a:prstGeom>
        </p:spPr>
        <p:txBody>
          <a:bodyPr anchor="ctr"/>
          <a:lstStyle>
            <a:lvl1pPr algn="ctr">
              <a:defRPr sz="1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FIDENTIAL &amp; PROPRIETARY</a:t>
            </a:r>
            <a:endParaRPr lang="en-US" dirty="0"/>
          </a:p>
        </p:txBody>
      </p:sp>
      <p:sp>
        <p:nvSpPr>
          <p:cNvPr id="8" name="Title 1">
            <a:extLst>
              <a:ext uri="{FF2B5EF4-FFF2-40B4-BE49-F238E27FC236}">
                <a16:creationId xmlns:a16="http://schemas.microsoft.com/office/drawing/2014/main" id="{E9DC239B-D5F3-A449-ABA2-6292D8F8C1B8}"/>
              </a:ext>
            </a:extLst>
          </p:cNvPr>
          <p:cNvSpPr>
            <a:spLocks noGrp="1"/>
          </p:cNvSpPr>
          <p:nvPr>
            <p:ph type="title"/>
          </p:nvPr>
        </p:nvSpPr>
        <p:spPr>
          <a:xfrm>
            <a:off x="0" y="2451780"/>
            <a:ext cx="12192000" cy="1325563"/>
          </a:xfrm>
        </p:spPr>
        <p:txBody>
          <a:bodyPr/>
          <a:lstStyle>
            <a:lvl1pPr algn="ctr">
              <a:defRPr>
                <a:solidFill>
                  <a:schemeClr val="tx2"/>
                </a:solidFill>
              </a:defRPr>
            </a:lvl1pPr>
          </a:lstStyle>
          <a:p>
            <a:r>
              <a:rPr lang="en-US" dirty="0"/>
              <a:t>Click to edit Master title style</a:t>
            </a:r>
          </a:p>
        </p:txBody>
      </p:sp>
      <p:pic>
        <p:nvPicPr>
          <p:cNvPr id="9" name="Picture 8">
            <a:extLst>
              <a:ext uri="{FF2B5EF4-FFF2-40B4-BE49-F238E27FC236}">
                <a16:creationId xmlns:a16="http://schemas.microsoft.com/office/drawing/2014/main" id="{105F734E-9CAA-F84C-B667-A6539816F8FB}"/>
              </a:ext>
            </a:extLst>
          </p:cNvPr>
          <p:cNvPicPr>
            <a:picLocks noChangeAspect="1"/>
          </p:cNvPicPr>
          <p:nvPr userDrawn="1"/>
        </p:nvPicPr>
        <p:blipFill>
          <a:blip r:embed="rId2"/>
          <a:stretch>
            <a:fillRect/>
          </a:stretch>
        </p:blipFill>
        <p:spPr>
          <a:xfrm>
            <a:off x="-30480" y="-43542"/>
            <a:ext cx="12252960" cy="298853"/>
          </a:xfrm>
          <a:prstGeom prst="rect">
            <a:avLst/>
          </a:prstGeom>
        </p:spPr>
      </p:pic>
    </p:spTree>
    <p:extLst>
      <p:ext uri="{BB962C8B-B14F-4D97-AF65-F5344CB8AC3E}">
        <p14:creationId xmlns:p14="http://schemas.microsoft.com/office/powerpoint/2010/main" val="32476407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offee Section">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lstStyle>
            <a:lvl1pPr>
              <a:defRPr sz="4000">
                <a:solidFill>
                  <a:srgbClr val="01B3B9"/>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5" name="Picture 14">
            <a:extLst>
              <a:ext uri="{FF2B5EF4-FFF2-40B4-BE49-F238E27FC236}">
                <a16:creationId xmlns:a16="http://schemas.microsoft.com/office/drawing/2014/main" id="{3FDB47A0-B41A-BD44-A47B-EE9BC4567B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3"/>
          </a:xfrm>
          <a:prstGeom prst="rect">
            <a:avLst/>
          </a:prstGeom>
        </p:spPr>
      </p:pic>
      <p:pic>
        <p:nvPicPr>
          <p:cNvPr id="8" name="Picture 7">
            <a:extLst>
              <a:ext uri="{FF2B5EF4-FFF2-40B4-BE49-F238E27FC236}">
                <a16:creationId xmlns:a16="http://schemas.microsoft.com/office/drawing/2014/main" id="{71D654D4-8273-FE45-97E7-B2A9822C886E}"/>
              </a:ext>
            </a:extLst>
          </p:cNvPr>
          <p:cNvPicPr>
            <a:picLocks noChangeAspect="1"/>
          </p:cNvPicPr>
          <p:nvPr userDrawn="1"/>
        </p:nvPicPr>
        <p:blipFill>
          <a:blip r:embed="rId3"/>
          <a:srcRect/>
          <a:stretch/>
        </p:blipFill>
        <p:spPr>
          <a:xfrm>
            <a:off x="-30480" y="-66958"/>
            <a:ext cx="12252960" cy="298852"/>
          </a:xfrm>
          <a:prstGeom prst="rect">
            <a:avLst/>
          </a:prstGeom>
        </p:spPr>
      </p:pic>
      <p:sp>
        <p:nvSpPr>
          <p:cNvPr id="7" name="Plaque 6">
            <a:extLst>
              <a:ext uri="{FF2B5EF4-FFF2-40B4-BE49-F238E27FC236}">
                <a16:creationId xmlns:a16="http://schemas.microsoft.com/office/drawing/2014/main" id="{4B30CEFA-A108-524E-948A-62E47D061255}"/>
              </a:ext>
            </a:extLst>
          </p:cNvPr>
          <p:cNvSpPr/>
          <p:nvPr userDrawn="1"/>
        </p:nvSpPr>
        <p:spPr>
          <a:xfrm>
            <a:off x="11617361" y="489575"/>
            <a:ext cx="394525" cy="388539"/>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que 8">
            <a:extLst>
              <a:ext uri="{FF2B5EF4-FFF2-40B4-BE49-F238E27FC236}">
                <a16:creationId xmlns:a16="http://schemas.microsoft.com/office/drawing/2014/main" id="{B2980BCF-9260-4249-9FB6-F665DC0C8FA4}"/>
              </a:ext>
            </a:extLst>
          </p:cNvPr>
          <p:cNvSpPr/>
          <p:nvPr userDrawn="1"/>
        </p:nvSpPr>
        <p:spPr>
          <a:xfrm>
            <a:off x="11909251" y="351921"/>
            <a:ext cx="205269" cy="202155"/>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000923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ffee Section - No Log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200974-1B61-7C45-98E7-0CD0DABD91A7}"/>
              </a:ext>
            </a:extLst>
          </p:cNvPr>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sp>
        <p:nvSpPr>
          <p:cNvPr id="6" name="Content Placeholder 2">
            <a:extLst>
              <a:ext uri="{FF2B5EF4-FFF2-40B4-BE49-F238E27FC236}">
                <a16:creationId xmlns:a16="http://schemas.microsoft.com/office/drawing/2014/main" id="{35CC2C7A-58FD-514E-8C30-7B3C33C83D50}"/>
              </a:ext>
            </a:extLst>
          </p:cNvPr>
          <p:cNvSpPr>
            <a:spLocks noGrp="1"/>
          </p:cNvSpPr>
          <p:nvPr>
            <p:ph idx="1"/>
          </p:nvPr>
        </p:nvSpPr>
        <p:spPr>
          <a:xfrm>
            <a:off x="446314" y="1825625"/>
            <a:ext cx="11339286" cy="4415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85B66FEC-655C-164F-BF19-5883C3B8F1EF}"/>
              </a:ext>
            </a:extLst>
          </p:cNvPr>
          <p:cNvSpPr>
            <a:spLocks noGrp="1"/>
          </p:cNvSpPr>
          <p:nvPr>
            <p:ph type="title"/>
          </p:nvPr>
        </p:nvSpPr>
        <p:spPr>
          <a:xfrm>
            <a:off x="446314" y="365125"/>
            <a:ext cx="11368310" cy="1325563"/>
          </a:xfrm>
        </p:spPr>
        <p:txBody>
          <a:bodyPr/>
          <a:lstStyle>
            <a:lvl1pPr>
              <a:defRPr sz="4000">
                <a:solidFill>
                  <a:srgbClr val="01B3B9"/>
                </a:solidFill>
              </a:defRPr>
            </a:lvl1pPr>
          </a:lstStyle>
          <a:p>
            <a:r>
              <a:rPr lang="en-US" dirty="0"/>
              <a:t>Click to edit Master title style</a:t>
            </a:r>
          </a:p>
        </p:txBody>
      </p:sp>
      <p:pic>
        <p:nvPicPr>
          <p:cNvPr id="9" name="Picture 8">
            <a:extLst>
              <a:ext uri="{FF2B5EF4-FFF2-40B4-BE49-F238E27FC236}">
                <a16:creationId xmlns:a16="http://schemas.microsoft.com/office/drawing/2014/main" id="{7EBAE1F1-FD55-8842-89C9-CDBFF8BA6BA2}"/>
              </a:ext>
            </a:extLst>
          </p:cNvPr>
          <p:cNvPicPr>
            <a:picLocks noChangeAspect="1"/>
          </p:cNvPicPr>
          <p:nvPr userDrawn="1"/>
        </p:nvPicPr>
        <p:blipFill>
          <a:blip r:embed="rId2"/>
          <a:srcRect/>
          <a:stretch/>
        </p:blipFill>
        <p:spPr>
          <a:xfrm>
            <a:off x="-30480" y="-66958"/>
            <a:ext cx="12252960" cy="298852"/>
          </a:xfrm>
          <a:prstGeom prst="rect">
            <a:avLst/>
          </a:prstGeom>
        </p:spPr>
      </p:pic>
      <p:sp>
        <p:nvSpPr>
          <p:cNvPr id="10" name="Plaque 9">
            <a:extLst>
              <a:ext uri="{FF2B5EF4-FFF2-40B4-BE49-F238E27FC236}">
                <a16:creationId xmlns:a16="http://schemas.microsoft.com/office/drawing/2014/main" id="{3A6403FF-1477-004A-BEBC-25B263F6285D}"/>
              </a:ext>
            </a:extLst>
          </p:cNvPr>
          <p:cNvSpPr/>
          <p:nvPr userDrawn="1"/>
        </p:nvSpPr>
        <p:spPr>
          <a:xfrm>
            <a:off x="11617361" y="489575"/>
            <a:ext cx="394525" cy="388539"/>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laque 10">
            <a:extLst>
              <a:ext uri="{FF2B5EF4-FFF2-40B4-BE49-F238E27FC236}">
                <a16:creationId xmlns:a16="http://schemas.microsoft.com/office/drawing/2014/main" id="{331EB96B-5CD9-C148-808A-C90A99806AF6}"/>
              </a:ext>
            </a:extLst>
          </p:cNvPr>
          <p:cNvSpPr/>
          <p:nvPr userDrawn="1"/>
        </p:nvSpPr>
        <p:spPr>
          <a:xfrm>
            <a:off x="11909251" y="351921"/>
            <a:ext cx="205269" cy="202155"/>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20191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refoils Section">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normAutofit/>
          </a:bodyPr>
          <a:lstStyle>
            <a:lvl1pPr>
              <a:defRPr sz="40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5" name="Picture 14">
            <a:extLst>
              <a:ext uri="{FF2B5EF4-FFF2-40B4-BE49-F238E27FC236}">
                <a16:creationId xmlns:a16="http://schemas.microsoft.com/office/drawing/2014/main" id="{3FDB47A0-B41A-BD44-A47B-EE9BC4567B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3"/>
          </a:xfrm>
          <a:prstGeom prst="rect">
            <a:avLst/>
          </a:prstGeom>
        </p:spPr>
      </p:pic>
      <p:pic>
        <p:nvPicPr>
          <p:cNvPr id="11" name="Picture 10">
            <a:extLst>
              <a:ext uri="{FF2B5EF4-FFF2-40B4-BE49-F238E27FC236}">
                <a16:creationId xmlns:a16="http://schemas.microsoft.com/office/drawing/2014/main" id="{D910FA4C-0FFB-B241-BEC0-47918C13FD68}"/>
              </a:ext>
            </a:extLst>
          </p:cNvPr>
          <p:cNvPicPr>
            <a:picLocks noChangeAspect="1"/>
          </p:cNvPicPr>
          <p:nvPr userDrawn="1"/>
        </p:nvPicPr>
        <p:blipFill>
          <a:blip r:embed="rId3"/>
          <a:stretch>
            <a:fillRect/>
          </a:stretch>
        </p:blipFill>
        <p:spPr>
          <a:xfrm>
            <a:off x="-30480" y="-43542"/>
            <a:ext cx="12252960" cy="298853"/>
          </a:xfrm>
          <a:prstGeom prst="rect">
            <a:avLst/>
          </a:prstGeom>
        </p:spPr>
      </p:pic>
      <p:sp>
        <p:nvSpPr>
          <p:cNvPr id="14" name="Plaque 13">
            <a:extLst>
              <a:ext uri="{FF2B5EF4-FFF2-40B4-BE49-F238E27FC236}">
                <a16:creationId xmlns:a16="http://schemas.microsoft.com/office/drawing/2014/main" id="{8629964F-08E9-4445-B5C0-48BC7AF21ADC}"/>
              </a:ext>
            </a:extLst>
          </p:cNvPr>
          <p:cNvSpPr/>
          <p:nvPr userDrawn="1"/>
        </p:nvSpPr>
        <p:spPr>
          <a:xfrm>
            <a:off x="11158386" y="440525"/>
            <a:ext cx="394525" cy="388539"/>
          </a:xfrm>
          <a:prstGeom prst="plaque">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7" name="Plaque 16">
            <a:extLst>
              <a:ext uri="{FF2B5EF4-FFF2-40B4-BE49-F238E27FC236}">
                <a16:creationId xmlns:a16="http://schemas.microsoft.com/office/drawing/2014/main" id="{52D00886-DB84-DD45-9D58-C5621B4B2A02}"/>
              </a:ext>
            </a:extLst>
          </p:cNvPr>
          <p:cNvSpPr/>
          <p:nvPr userDrawn="1"/>
        </p:nvSpPr>
        <p:spPr>
          <a:xfrm>
            <a:off x="10953117" y="339448"/>
            <a:ext cx="205269" cy="202155"/>
          </a:xfrm>
          <a:prstGeom prst="plaque">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34571854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refoils Section - No Logo">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normAutofit/>
          </a:bodyPr>
          <a:lstStyle>
            <a:lvl1pPr>
              <a:defRPr sz="40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1" name="Picture 10">
            <a:extLst>
              <a:ext uri="{FF2B5EF4-FFF2-40B4-BE49-F238E27FC236}">
                <a16:creationId xmlns:a16="http://schemas.microsoft.com/office/drawing/2014/main" id="{D910FA4C-0FFB-B241-BEC0-47918C13FD68}"/>
              </a:ext>
            </a:extLst>
          </p:cNvPr>
          <p:cNvPicPr>
            <a:picLocks noChangeAspect="1"/>
          </p:cNvPicPr>
          <p:nvPr userDrawn="1"/>
        </p:nvPicPr>
        <p:blipFill>
          <a:blip r:embed="rId2"/>
          <a:stretch>
            <a:fillRect/>
          </a:stretch>
        </p:blipFill>
        <p:spPr>
          <a:xfrm>
            <a:off x="-30480" y="-43542"/>
            <a:ext cx="12252960" cy="298853"/>
          </a:xfrm>
          <a:prstGeom prst="rect">
            <a:avLst/>
          </a:prstGeom>
        </p:spPr>
      </p:pic>
      <p:sp>
        <p:nvSpPr>
          <p:cNvPr id="14" name="Plaque 13">
            <a:extLst>
              <a:ext uri="{FF2B5EF4-FFF2-40B4-BE49-F238E27FC236}">
                <a16:creationId xmlns:a16="http://schemas.microsoft.com/office/drawing/2014/main" id="{8629964F-08E9-4445-B5C0-48BC7AF21ADC}"/>
              </a:ext>
            </a:extLst>
          </p:cNvPr>
          <p:cNvSpPr/>
          <p:nvPr userDrawn="1"/>
        </p:nvSpPr>
        <p:spPr>
          <a:xfrm>
            <a:off x="11158386" y="440525"/>
            <a:ext cx="394525" cy="388539"/>
          </a:xfrm>
          <a:prstGeom prst="plaque">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laque 16">
            <a:extLst>
              <a:ext uri="{FF2B5EF4-FFF2-40B4-BE49-F238E27FC236}">
                <a16:creationId xmlns:a16="http://schemas.microsoft.com/office/drawing/2014/main" id="{52D00886-DB84-DD45-9D58-C5621B4B2A02}"/>
              </a:ext>
            </a:extLst>
          </p:cNvPr>
          <p:cNvSpPr/>
          <p:nvPr userDrawn="1"/>
        </p:nvSpPr>
        <p:spPr>
          <a:xfrm>
            <a:off x="10953117" y="339448"/>
            <a:ext cx="205269" cy="202155"/>
          </a:xfrm>
          <a:prstGeom prst="plaque">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61550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Mints Section">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lstStyle>
            <a:lvl1pPr>
              <a:defRPr sz="4000">
                <a:solidFill>
                  <a:schemeClr val="accent6"/>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5" name="Picture 14">
            <a:extLst>
              <a:ext uri="{FF2B5EF4-FFF2-40B4-BE49-F238E27FC236}">
                <a16:creationId xmlns:a16="http://schemas.microsoft.com/office/drawing/2014/main" id="{3FDB47A0-B41A-BD44-A47B-EE9BC4567B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3"/>
          </a:xfrm>
          <a:prstGeom prst="rect">
            <a:avLst/>
          </a:prstGeom>
        </p:spPr>
      </p:pic>
      <p:pic>
        <p:nvPicPr>
          <p:cNvPr id="8" name="Picture 7">
            <a:extLst>
              <a:ext uri="{FF2B5EF4-FFF2-40B4-BE49-F238E27FC236}">
                <a16:creationId xmlns:a16="http://schemas.microsoft.com/office/drawing/2014/main" id="{71D654D4-8273-FE45-97E7-B2A9822C886E}"/>
              </a:ext>
            </a:extLst>
          </p:cNvPr>
          <p:cNvPicPr>
            <a:picLocks noChangeAspect="1"/>
          </p:cNvPicPr>
          <p:nvPr userDrawn="1"/>
        </p:nvPicPr>
        <p:blipFill>
          <a:blip r:embed="rId3"/>
          <a:srcRect/>
          <a:stretch/>
        </p:blipFill>
        <p:spPr>
          <a:xfrm>
            <a:off x="-30480" y="-18637"/>
            <a:ext cx="12252960" cy="249043"/>
          </a:xfrm>
          <a:prstGeom prst="rect">
            <a:avLst/>
          </a:prstGeom>
        </p:spPr>
      </p:pic>
      <p:sp>
        <p:nvSpPr>
          <p:cNvPr id="7" name="Plaque 6">
            <a:extLst>
              <a:ext uri="{FF2B5EF4-FFF2-40B4-BE49-F238E27FC236}">
                <a16:creationId xmlns:a16="http://schemas.microsoft.com/office/drawing/2014/main" id="{1B2CE5BE-E1B2-0147-93DC-ADAE88CB70D5}"/>
              </a:ext>
            </a:extLst>
          </p:cNvPr>
          <p:cNvSpPr/>
          <p:nvPr userDrawn="1"/>
        </p:nvSpPr>
        <p:spPr>
          <a:xfrm>
            <a:off x="10274175" y="489575"/>
            <a:ext cx="394525" cy="388539"/>
          </a:xfrm>
          <a:prstGeom prst="plaque">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que 8">
            <a:extLst>
              <a:ext uri="{FF2B5EF4-FFF2-40B4-BE49-F238E27FC236}">
                <a16:creationId xmlns:a16="http://schemas.microsoft.com/office/drawing/2014/main" id="{3FB33B2B-7002-2D4E-9358-49054CE9A0FC}"/>
              </a:ext>
            </a:extLst>
          </p:cNvPr>
          <p:cNvSpPr/>
          <p:nvPr userDrawn="1"/>
        </p:nvSpPr>
        <p:spPr>
          <a:xfrm>
            <a:off x="10566065" y="351921"/>
            <a:ext cx="205269" cy="202155"/>
          </a:xfrm>
          <a:prstGeom prst="plaque">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9395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6A35B37-C842-4852-980B-C663544714FE}"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12747729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ints Section - No Log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200974-1B61-7C45-98E7-0CD0DABD91A7}"/>
              </a:ext>
            </a:extLst>
          </p:cNvPr>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sp>
        <p:nvSpPr>
          <p:cNvPr id="6" name="Content Placeholder 2">
            <a:extLst>
              <a:ext uri="{FF2B5EF4-FFF2-40B4-BE49-F238E27FC236}">
                <a16:creationId xmlns:a16="http://schemas.microsoft.com/office/drawing/2014/main" id="{35CC2C7A-58FD-514E-8C30-7B3C33C83D50}"/>
              </a:ext>
            </a:extLst>
          </p:cNvPr>
          <p:cNvSpPr>
            <a:spLocks noGrp="1"/>
          </p:cNvSpPr>
          <p:nvPr>
            <p:ph idx="1"/>
          </p:nvPr>
        </p:nvSpPr>
        <p:spPr>
          <a:xfrm>
            <a:off x="446314" y="1825625"/>
            <a:ext cx="11339286" cy="4415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85B66FEC-655C-164F-BF19-5883C3B8F1EF}"/>
              </a:ext>
            </a:extLst>
          </p:cNvPr>
          <p:cNvSpPr>
            <a:spLocks noGrp="1"/>
          </p:cNvSpPr>
          <p:nvPr>
            <p:ph type="title"/>
          </p:nvPr>
        </p:nvSpPr>
        <p:spPr>
          <a:xfrm>
            <a:off x="446314" y="365125"/>
            <a:ext cx="11368310" cy="1325563"/>
          </a:xfrm>
        </p:spPr>
        <p:txBody>
          <a:bodyPr/>
          <a:lstStyle>
            <a:lvl1pPr>
              <a:defRPr sz="4000">
                <a:solidFill>
                  <a:schemeClr val="accent6"/>
                </a:solidFill>
              </a:defRPr>
            </a:lvl1pPr>
          </a:lstStyle>
          <a:p>
            <a:r>
              <a:rPr lang="en-US" dirty="0"/>
              <a:t>Click to edit Master title style</a:t>
            </a:r>
          </a:p>
        </p:txBody>
      </p:sp>
      <p:pic>
        <p:nvPicPr>
          <p:cNvPr id="8" name="Picture 7">
            <a:extLst>
              <a:ext uri="{FF2B5EF4-FFF2-40B4-BE49-F238E27FC236}">
                <a16:creationId xmlns:a16="http://schemas.microsoft.com/office/drawing/2014/main" id="{1A8931BA-B22C-DA4F-8D5A-1E76466A2FF0}"/>
              </a:ext>
            </a:extLst>
          </p:cNvPr>
          <p:cNvPicPr>
            <a:picLocks noChangeAspect="1"/>
          </p:cNvPicPr>
          <p:nvPr userDrawn="1"/>
        </p:nvPicPr>
        <p:blipFill>
          <a:blip r:embed="rId2"/>
          <a:srcRect/>
          <a:stretch/>
        </p:blipFill>
        <p:spPr>
          <a:xfrm>
            <a:off x="-30480" y="-18637"/>
            <a:ext cx="12252960" cy="249043"/>
          </a:xfrm>
          <a:prstGeom prst="rect">
            <a:avLst/>
          </a:prstGeom>
        </p:spPr>
      </p:pic>
      <p:sp>
        <p:nvSpPr>
          <p:cNvPr id="9" name="Plaque 8">
            <a:extLst>
              <a:ext uri="{FF2B5EF4-FFF2-40B4-BE49-F238E27FC236}">
                <a16:creationId xmlns:a16="http://schemas.microsoft.com/office/drawing/2014/main" id="{A6DB0750-5D41-0A4C-AA66-6B76CFA87241}"/>
              </a:ext>
            </a:extLst>
          </p:cNvPr>
          <p:cNvSpPr/>
          <p:nvPr userDrawn="1"/>
        </p:nvSpPr>
        <p:spPr>
          <a:xfrm>
            <a:off x="10274175" y="489575"/>
            <a:ext cx="394525" cy="388539"/>
          </a:xfrm>
          <a:prstGeom prst="plaque">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laque 9">
            <a:extLst>
              <a:ext uri="{FF2B5EF4-FFF2-40B4-BE49-F238E27FC236}">
                <a16:creationId xmlns:a16="http://schemas.microsoft.com/office/drawing/2014/main" id="{B74FBAA6-160C-DC41-A8F0-CECBE964BD2F}"/>
              </a:ext>
            </a:extLst>
          </p:cNvPr>
          <p:cNvSpPr/>
          <p:nvPr userDrawn="1"/>
        </p:nvSpPr>
        <p:spPr>
          <a:xfrm>
            <a:off x="10566065" y="351921"/>
            <a:ext cx="205269" cy="202155"/>
          </a:xfrm>
          <a:prstGeom prst="plaque">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18898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Dosidos Section">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normAutofit/>
          </a:bodyPr>
          <a:lstStyle>
            <a:lvl1pPr>
              <a:defRPr sz="4000">
                <a:solidFill>
                  <a:schemeClr val="accent4"/>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5" name="Picture 14">
            <a:extLst>
              <a:ext uri="{FF2B5EF4-FFF2-40B4-BE49-F238E27FC236}">
                <a16:creationId xmlns:a16="http://schemas.microsoft.com/office/drawing/2014/main" id="{3FDB47A0-B41A-BD44-A47B-EE9BC4567B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3"/>
          </a:xfrm>
          <a:prstGeom prst="rect">
            <a:avLst/>
          </a:prstGeom>
        </p:spPr>
      </p:pic>
      <p:pic>
        <p:nvPicPr>
          <p:cNvPr id="8" name="Picture 7">
            <a:extLst>
              <a:ext uri="{FF2B5EF4-FFF2-40B4-BE49-F238E27FC236}">
                <a16:creationId xmlns:a16="http://schemas.microsoft.com/office/drawing/2014/main" id="{71D654D4-8273-FE45-97E7-B2A9822C886E}"/>
              </a:ext>
            </a:extLst>
          </p:cNvPr>
          <p:cNvPicPr>
            <a:picLocks noChangeAspect="1"/>
          </p:cNvPicPr>
          <p:nvPr userDrawn="1"/>
        </p:nvPicPr>
        <p:blipFill>
          <a:blip r:embed="rId3"/>
          <a:srcRect/>
          <a:stretch/>
        </p:blipFill>
        <p:spPr>
          <a:xfrm>
            <a:off x="-30466" y="-66958"/>
            <a:ext cx="12252932" cy="298852"/>
          </a:xfrm>
          <a:prstGeom prst="rect">
            <a:avLst/>
          </a:prstGeom>
        </p:spPr>
      </p:pic>
      <p:sp>
        <p:nvSpPr>
          <p:cNvPr id="7" name="Plaque 6">
            <a:extLst>
              <a:ext uri="{FF2B5EF4-FFF2-40B4-BE49-F238E27FC236}">
                <a16:creationId xmlns:a16="http://schemas.microsoft.com/office/drawing/2014/main" id="{0830C23F-0A0D-D94F-9305-2BE8B68B22DE}"/>
              </a:ext>
            </a:extLst>
          </p:cNvPr>
          <p:cNvSpPr/>
          <p:nvPr userDrawn="1"/>
        </p:nvSpPr>
        <p:spPr>
          <a:xfrm>
            <a:off x="9213472" y="466202"/>
            <a:ext cx="394525" cy="388539"/>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que 8">
            <a:extLst>
              <a:ext uri="{FF2B5EF4-FFF2-40B4-BE49-F238E27FC236}">
                <a16:creationId xmlns:a16="http://schemas.microsoft.com/office/drawing/2014/main" id="{9428FC01-E93A-1944-8EDD-C6005ADE86EE}"/>
              </a:ext>
            </a:extLst>
          </p:cNvPr>
          <p:cNvSpPr/>
          <p:nvPr userDrawn="1"/>
        </p:nvSpPr>
        <p:spPr>
          <a:xfrm>
            <a:off x="9008203" y="365125"/>
            <a:ext cx="205269" cy="202155"/>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79549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osidos Section - No Log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200974-1B61-7C45-98E7-0CD0DABD91A7}"/>
              </a:ext>
            </a:extLst>
          </p:cNvPr>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sp>
        <p:nvSpPr>
          <p:cNvPr id="6" name="Content Placeholder 2">
            <a:extLst>
              <a:ext uri="{FF2B5EF4-FFF2-40B4-BE49-F238E27FC236}">
                <a16:creationId xmlns:a16="http://schemas.microsoft.com/office/drawing/2014/main" id="{35CC2C7A-58FD-514E-8C30-7B3C33C83D50}"/>
              </a:ext>
            </a:extLst>
          </p:cNvPr>
          <p:cNvSpPr>
            <a:spLocks noGrp="1"/>
          </p:cNvSpPr>
          <p:nvPr>
            <p:ph idx="1"/>
          </p:nvPr>
        </p:nvSpPr>
        <p:spPr>
          <a:xfrm>
            <a:off x="446314" y="1825625"/>
            <a:ext cx="11339286" cy="4415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85B66FEC-655C-164F-BF19-5883C3B8F1EF}"/>
              </a:ext>
            </a:extLst>
          </p:cNvPr>
          <p:cNvSpPr>
            <a:spLocks noGrp="1"/>
          </p:cNvSpPr>
          <p:nvPr>
            <p:ph type="title"/>
          </p:nvPr>
        </p:nvSpPr>
        <p:spPr>
          <a:xfrm>
            <a:off x="446314" y="365125"/>
            <a:ext cx="11368310" cy="1325563"/>
          </a:xfrm>
        </p:spPr>
        <p:txBody>
          <a:bodyPr>
            <a:normAutofit/>
          </a:bodyPr>
          <a:lstStyle>
            <a:lvl1pPr>
              <a:defRPr sz="4000">
                <a:solidFill>
                  <a:schemeClr val="accent4"/>
                </a:solidFill>
              </a:defRPr>
            </a:lvl1pPr>
          </a:lstStyle>
          <a:p>
            <a:r>
              <a:rPr lang="en-US" dirty="0"/>
              <a:t>Click to edit Master title style</a:t>
            </a:r>
          </a:p>
        </p:txBody>
      </p:sp>
      <p:pic>
        <p:nvPicPr>
          <p:cNvPr id="8" name="Picture 7">
            <a:extLst>
              <a:ext uri="{FF2B5EF4-FFF2-40B4-BE49-F238E27FC236}">
                <a16:creationId xmlns:a16="http://schemas.microsoft.com/office/drawing/2014/main" id="{CB2EADFB-CBE0-F947-A91A-957B4486724B}"/>
              </a:ext>
            </a:extLst>
          </p:cNvPr>
          <p:cNvPicPr>
            <a:picLocks noChangeAspect="1"/>
          </p:cNvPicPr>
          <p:nvPr userDrawn="1"/>
        </p:nvPicPr>
        <p:blipFill>
          <a:blip r:embed="rId2"/>
          <a:srcRect/>
          <a:stretch/>
        </p:blipFill>
        <p:spPr>
          <a:xfrm>
            <a:off x="-30466" y="-66958"/>
            <a:ext cx="12252932" cy="298852"/>
          </a:xfrm>
          <a:prstGeom prst="rect">
            <a:avLst/>
          </a:prstGeom>
        </p:spPr>
      </p:pic>
      <p:sp>
        <p:nvSpPr>
          <p:cNvPr id="10" name="Plaque 9">
            <a:extLst>
              <a:ext uri="{FF2B5EF4-FFF2-40B4-BE49-F238E27FC236}">
                <a16:creationId xmlns:a16="http://schemas.microsoft.com/office/drawing/2014/main" id="{90A67C1B-9470-3148-91BF-5AB7D0F88595}"/>
              </a:ext>
            </a:extLst>
          </p:cNvPr>
          <p:cNvSpPr/>
          <p:nvPr userDrawn="1"/>
        </p:nvSpPr>
        <p:spPr>
          <a:xfrm>
            <a:off x="9213472" y="466202"/>
            <a:ext cx="394525" cy="388539"/>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laque 10">
            <a:extLst>
              <a:ext uri="{FF2B5EF4-FFF2-40B4-BE49-F238E27FC236}">
                <a16:creationId xmlns:a16="http://schemas.microsoft.com/office/drawing/2014/main" id="{485901FB-BECE-DD45-9464-496583E1D276}"/>
              </a:ext>
            </a:extLst>
          </p:cNvPr>
          <p:cNvSpPr/>
          <p:nvPr userDrawn="1"/>
        </p:nvSpPr>
        <p:spPr>
          <a:xfrm>
            <a:off x="9008203" y="365125"/>
            <a:ext cx="205269" cy="202155"/>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06360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agalongs Section">
    <p:spTree>
      <p:nvGrpSpPr>
        <p:cNvPr id="1" name=""/>
        <p:cNvGrpSpPr/>
        <p:nvPr/>
      </p:nvGrpSpPr>
      <p:grpSpPr>
        <a:xfrm>
          <a:off x="0" y="0"/>
          <a:ext cx="0" cy="0"/>
          <a:chOff x="0" y="0"/>
          <a:chExt cx="0" cy="0"/>
        </a:xfrm>
      </p:grpSpPr>
      <p:sp>
        <p:nvSpPr>
          <p:cNvPr id="2" name="Title 1"/>
          <p:cNvSpPr>
            <a:spLocks noGrp="1"/>
          </p:cNvSpPr>
          <p:nvPr>
            <p:ph type="title"/>
          </p:nvPr>
        </p:nvSpPr>
        <p:spPr>
          <a:xfrm>
            <a:off x="446314" y="365125"/>
            <a:ext cx="11368310" cy="1325563"/>
          </a:xfrm>
        </p:spPr>
        <p:txBody>
          <a:bodyPr>
            <a:normAutofit/>
          </a:bodyPr>
          <a:lstStyle>
            <a:lvl1pPr>
              <a:defRPr sz="4000">
                <a:solidFill>
                  <a:schemeClr val="accent3"/>
                </a:solidFill>
              </a:defRPr>
            </a:lvl1pPr>
          </a:lstStyle>
          <a:p>
            <a:r>
              <a:rPr lang="en-US" dirty="0"/>
              <a:t>Click to edit Master title style</a:t>
            </a:r>
          </a:p>
        </p:txBody>
      </p:sp>
      <p:sp>
        <p:nvSpPr>
          <p:cNvPr id="3" name="Content Placeholder 2"/>
          <p:cNvSpPr>
            <a:spLocks noGrp="1"/>
          </p:cNvSpPr>
          <p:nvPr>
            <p:ph idx="1"/>
          </p:nvPr>
        </p:nvSpPr>
        <p:spPr>
          <a:xfrm>
            <a:off x="446314" y="1825625"/>
            <a:ext cx="11368310" cy="415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pic>
        <p:nvPicPr>
          <p:cNvPr id="15" name="Picture 14">
            <a:extLst>
              <a:ext uri="{FF2B5EF4-FFF2-40B4-BE49-F238E27FC236}">
                <a16:creationId xmlns:a16="http://schemas.microsoft.com/office/drawing/2014/main" id="{3FDB47A0-B41A-BD44-A47B-EE9BC4567B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3"/>
          </a:xfrm>
          <a:prstGeom prst="rect">
            <a:avLst/>
          </a:prstGeom>
        </p:spPr>
      </p:pic>
      <p:pic>
        <p:nvPicPr>
          <p:cNvPr id="8" name="Picture 7">
            <a:extLst>
              <a:ext uri="{FF2B5EF4-FFF2-40B4-BE49-F238E27FC236}">
                <a16:creationId xmlns:a16="http://schemas.microsoft.com/office/drawing/2014/main" id="{71D654D4-8273-FE45-97E7-B2A9822C886E}"/>
              </a:ext>
            </a:extLst>
          </p:cNvPr>
          <p:cNvPicPr>
            <a:picLocks noChangeAspect="1"/>
          </p:cNvPicPr>
          <p:nvPr userDrawn="1"/>
        </p:nvPicPr>
        <p:blipFill>
          <a:blip r:embed="rId3"/>
          <a:srcRect/>
          <a:stretch/>
        </p:blipFill>
        <p:spPr>
          <a:xfrm>
            <a:off x="-30466" y="-42054"/>
            <a:ext cx="12252932" cy="249043"/>
          </a:xfrm>
          <a:prstGeom prst="rect">
            <a:avLst/>
          </a:prstGeom>
        </p:spPr>
      </p:pic>
      <p:sp>
        <p:nvSpPr>
          <p:cNvPr id="7" name="Plaque 6">
            <a:extLst>
              <a:ext uri="{FF2B5EF4-FFF2-40B4-BE49-F238E27FC236}">
                <a16:creationId xmlns:a16="http://schemas.microsoft.com/office/drawing/2014/main" id="{1D73E8B8-6519-614A-85BC-F416FF9D7573}"/>
              </a:ext>
            </a:extLst>
          </p:cNvPr>
          <p:cNvSpPr/>
          <p:nvPr userDrawn="1"/>
        </p:nvSpPr>
        <p:spPr>
          <a:xfrm>
            <a:off x="8250047" y="489575"/>
            <a:ext cx="394525" cy="388539"/>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laque 8">
            <a:extLst>
              <a:ext uri="{FF2B5EF4-FFF2-40B4-BE49-F238E27FC236}">
                <a16:creationId xmlns:a16="http://schemas.microsoft.com/office/drawing/2014/main" id="{B8A31950-18D2-8342-A701-BF262FB49C87}"/>
              </a:ext>
            </a:extLst>
          </p:cNvPr>
          <p:cNvSpPr/>
          <p:nvPr userDrawn="1"/>
        </p:nvSpPr>
        <p:spPr>
          <a:xfrm>
            <a:off x="8541937" y="351921"/>
            <a:ext cx="205269" cy="202155"/>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83903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galongs Section - No Logo">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200974-1B61-7C45-98E7-0CD0DABD91A7}"/>
              </a:ext>
            </a:extLst>
          </p:cNvPr>
          <p:cNvSpPr>
            <a:spLocks noGrp="1"/>
          </p:cNvSpPr>
          <p:nvPr>
            <p:ph type="dt" sz="half" idx="10"/>
          </p:nvPr>
        </p:nvSpPr>
        <p:spPr>
          <a:xfrm>
            <a:off x="4724400" y="6356350"/>
            <a:ext cx="2743200" cy="365125"/>
          </a:xfrm>
          <a:prstGeom prst="rect">
            <a:avLst/>
          </a:prstGeom>
        </p:spPr>
        <p:txBody>
          <a:bodyPr/>
          <a:lstStyle/>
          <a:p>
            <a:r>
              <a:rPr lang="en-US"/>
              <a:t>CONFIDENTIAL &amp; PROPRIETARY</a:t>
            </a:r>
            <a:endParaRPr lang="en-US" dirty="0"/>
          </a:p>
        </p:txBody>
      </p:sp>
      <p:sp>
        <p:nvSpPr>
          <p:cNvPr id="6" name="Content Placeholder 2">
            <a:extLst>
              <a:ext uri="{FF2B5EF4-FFF2-40B4-BE49-F238E27FC236}">
                <a16:creationId xmlns:a16="http://schemas.microsoft.com/office/drawing/2014/main" id="{35CC2C7A-58FD-514E-8C30-7B3C33C83D50}"/>
              </a:ext>
            </a:extLst>
          </p:cNvPr>
          <p:cNvSpPr>
            <a:spLocks noGrp="1"/>
          </p:cNvSpPr>
          <p:nvPr>
            <p:ph idx="1"/>
          </p:nvPr>
        </p:nvSpPr>
        <p:spPr>
          <a:xfrm>
            <a:off x="446314" y="1825625"/>
            <a:ext cx="11339286" cy="4415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85B66FEC-655C-164F-BF19-5883C3B8F1EF}"/>
              </a:ext>
            </a:extLst>
          </p:cNvPr>
          <p:cNvSpPr>
            <a:spLocks noGrp="1"/>
          </p:cNvSpPr>
          <p:nvPr>
            <p:ph type="title"/>
          </p:nvPr>
        </p:nvSpPr>
        <p:spPr>
          <a:xfrm>
            <a:off x="446314" y="365125"/>
            <a:ext cx="11368310" cy="1325563"/>
          </a:xfrm>
        </p:spPr>
        <p:txBody>
          <a:bodyPr>
            <a:normAutofit/>
          </a:bodyPr>
          <a:lstStyle>
            <a:lvl1pPr>
              <a:defRPr sz="4000">
                <a:solidFill>
                  <a:schemeClr val="accent3"/>
                </a:solidFill>
              </a:defRPr>
            </a:lvl1pPr>
          </a:lstStyle>
          <a:p>
            <a:r>
              <a:rPr lang="en-US" dirty="0"/>
              <a:t>Click to edit Master title style</a:t>
            </a:r>
          </a:p>
        </p:txBody>
      </p:sp>
      <p:pic>
        <p:nvPicPr>
          <p:cNvPr id="9" name="Picture 8">
            <a:extLst>
              <a:ext uri="{FF2B5EF4-FFF2-40B4-BE49-F238E27FC236}">
                <a16:creationId xmlns:a16="http://schemas.microsoft.com/office/drawing/2014/main" id="{089AE120-126C-534C-88B4-334A9B8A7394}"/>
              </a:ext>
            </a:extLst>
          </p:cNvPr>
          <p:cNvPicPr>
            <a:picLocks noChangeAspect="1"/>
          </p:cNvPicPr>
          <p:nvPr userDrawn="1"/>
        </p:nvPicPr>
        <p:blipFill>
          <a:blip r:embed="rId2"/>
          <a:srcRect/>
          <a:stretch/>
        </p:blipFill>
        <p:spPr>
          <a:xfrm>
            <a:off x="-30466" y="-42054"/>
            <a:ext cx="12252932" cy="249043"/>
          </a:xfrm>
          <a:prstGeom prst="rect">
            <a:avLst/>
          </a:prstGeom>
        </p:spPr>
      </p:pic>
      <p:sp>
        <p:nvSpPr>
          <p:cNvPr id="10" name="Plaque 9">
            <a:extLst>
              <a:ext uri="{FF2B5EF4-FFF2-40B4-BE49-F238E27FC236}">
                <a16:creationId xmlns:a16="http://schemas.microsoft.com/office/drawing/2014/main" id="{8947FD49-25E9-BF4F-82B0-9176224BFA9D}"/>
              </a:ext>
            </a:extLst>
          </p:cNvPr>
          <p:cNvSpPr/>
          <p:nvPr userDrawn="1"/>
        </p:nvSpPr>
        <p:spPr>
          <a:xfrm>
            <a:off x="8250047" y="489575"/>
            <a:ext cx="394525" cy="388539"/>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laque 10">
            <a:extLst>
              <a:ext uri="{FF2B5EF4-FFF2-40B4-BE49-F238E27FC236}">
                <a16:creationId xmlns:a16="http://schemas.microsoft.com/office/drawing/2014/main" id="{D18475C6-A856-F14A-BFB0-C2AA3F9DA5EB}"/>
              </a:ext>
            </a:extLst>
          </p:cNvPr>
          <p:cNvSpPr/>
          <p:nvPr userDrawn="1"/>
        </p:nvSpPr>
        <p:spPr>
          <a:xfrm>
            <a:off x="8541937" y="351921"/>
            <a:ext cx="205269" cy="202155"/>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55985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7C14B-45A9-D64B-A453-6BC7A73F1924}"/>
              </a:ext>
            </a:extLst>
          </p:cNvPr>
          <p:cNvSpPr>
            <a:spLocks noGrp="1"/>
          </p:cNvSpPr>
          <p:nvPr>
            <p:ph type="ctrTitle"/>
          </p:nvPr>
        </p:nvSpPr>
        <p:spPr>
          <a:xfrm>
            <a:off x="1524000" y="1122363"/>
            <a:ext cx="9144000" cy="2387600"/>
          </a:xfrm>
          <a:prstGeom prst="rect">
            <a:avLst/>
          </a:prstGeom>
        </p:spPr>
        <p:txBody>
          <a:bodyPr anchor="b"/>
          <a:lstStyle>
            <a:lvl1pPr algn="ctr">
              <a:defRPr sz="6000" b="1">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3B8C5E06-7200-C144-B57C-81A085E100A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3">
            <a:extLst>
              <a:ext uri="{FF2B5EF4-FFF2-40B4-BE49-F238E27FC236}">
                <a16:creationId xmlns:a16="http://schemas.microsoft.com/office/drawing/2014/main" id="{6DC642A8-ECCA-2247-B782-9A6D65CED95D}"/>
              </a:ext>
            </a:extLst>
          </p:cNvPr>
          <p:cNvSpPr>
            <a:spLocks noGrp="1"/>
          </p:cNvSpPr>
          <p:nvPr>
            <p:ph type="dt" sz="half" idx="10"/>
          </p:nvPr>
        </p:nvSpPr>
        <p:spPr>
          <a:xfrm>
            <a:off x="3960744" y="6492875"/>
            <a:ext cx="4270513" cy="365125"/>
          </a:xfrm>
          <a:prstGeom prst="rect">
            <a:avLst/>
          </a:prstGeom>
        </p:spPr>
        <p:txBody>
          <a:bodyPr/>
          <a:lstStyle>
            <a:defPPr>
              <a:defRPr lang="en-US"/>
            </a:defPPr>
            <a:lvl1pPr marL="0" algn="ctr" defTabSz="914400" rtl="0" eaLnBrk="1" latinLnBrk="0" hangingPunct="1">
              <a:defRPr sz="900" b="1"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 &amp; PROPRIETARY</a:t>
            </a:r>
            <a:endParaRPr lang="en-US" dirty="0"/>
          </a:p>
        </p:txBody>
      </p:sp>
      <p:pic>
        <p:nvPicPr>
          <p:cNvPr id="8" name="Picture 7">
            <a:extLst>
              <a:ext uri="{FF2B5EF4-FFF2-40B4-BE49-F238E27FC236}">
                <a16:creationId xmlns:a16="http://schemas.microsoft.com/office/drawing/2014/main" id="{6897B224-0CF8-AA42-9FED-ED2D0308E5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10735" y="6265851"/>
            <a:ext cx="2403889" cy="451072"/>
          </a:xfrm>
          <a:prstGeom prst="rect">
            <a:avLst/>
          </a:prstGeom>
        </p:spPr>
      </p:pic>
    </p:spTree>
    <p:extLst>
      <p:ext uri="{BB962C8B-B14F-4D97-AF65-F5344CB8AC3E}">
        <p14:creationId xmlns:p14="http://schemas.microsoft.com/office/powerpoint/2010/main" val="15940909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DE50D6-574B-40AF-946F-D52A04ADE379}" type="datetime1">
              <a:rPr lang="en-US" smtClean="0"/>
              <a:t>1/2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4481739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2800" b="1" kern="1200" smtClean="0">
                <a:solidFill>
                  <a:schemeClr val="tx2"/>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28" name="Slide Number Placeholder 4">
            <a:extLst>
              <a:ext uri="{FF2B5EF4-FFF2-40B4-BE49-F238E27FC236}">
                <a16:creationId xmlns:a16="http://schemas.microsoft.com/office/drawing/2014/main" id="{5A1BC366-3D62-A963-1996-6DB54824AA3D}"/>
              </a:ext>
            </a:extLst>
          </p:cNvPr>
          <p:cNvSpPr>
            <a:spLocks noGrp="1"/>
          </p:cNvSpPr>
          <p:nvPr>
            <p:ph type="sldNum" sz="quarter" idx="12"/>
          </p:nvPr>
        </p:nvSpPr>
        <p:spPr>
          <a:xfrm>
            <a:off x="11195050" y="6298402"/>
            <a:ext cx="749300" cy="322265"/>
          </a:xfrm>
          <a:prstGeom prst="rect">
            <a:avLst/>
          </a:prstGeom>
        </p:spPr>
        <p:txBody>
          <a:bodyPr lIns="0" tIns="0" rIns="0" bIns="0" anchor="b"/>
          <a:lstStyle>
            <a:lvl1pPr algn="r">
              <a:defRPr sz="1400">
                <a:solidFill>
                  <a:schemeClr val="tx1">
                    <a:lumMod val="50000"/>
                    <a:lumOff val="50000"/>
                  </a:schemeClr>
                </a:solidFill>
              </a:defRPr>
            </a:lvl1pPr>
          </a:lstStyle>
          <a:p>
            <a:fld id="{8C1CC9D4-B77B-4D62-AC93-E2BD36A15066}" type="slidenum">
              <a:rPr lang="en-IN" smtClean="0"/>
              <a:pPr/>
              <a:t>‹#›</a:t>
            </a:fld>
            <a:endParaRPr lang="en-IN"/>
          </a:p>
        </p:txBody>
      </p:sp>
    </p:spTree>
    <p:extLst>
      <p:ext uri="{BB962C8B-B14F-4D97-AF65-F5344CB8AC3E}">
        <p14:creationId xmlns:p14="http://schemas.microsoft.com/office/powerpoint/2010/main" val="39816729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pic>
        <p:nvPicPr>
          <p:cNvPr id="7" name="Picture 6" descr="A picture containing drawing&#10;&#10;Description automatically generated">
            <a:extLst>
              <a:ext uri="{FF2B5EF4-FFF2-40B4-BE49-F238E27FC236}">
                <a16:creationId xmlns:a16="http://schemas.microsoft.com/office/drawing/2014/main" id="{C04A9C08-E36D-4929-9DB3-A52D45A8EB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27" name="Title 1">
            <a:extLst>
              <a:ext uri="{FF2B5EF4-FFF2-40B4-BE49-F238E27FC236}">
                <a16:creationId xmlns:a16="http://schemas.microsoft.com/office/drawing/2014/main" id="{676E6CAF-A15D-DC56-3F30-464AD0BAE170}"/>
              </a:ext>
            </a:extLst>
          </p:cNvPr>
          <p:cNvSpPr>
            <a:spLocks noGrp="1"/>
          </p:cNvSpPr>
          <p:nvPr>
            <p:ph type="title"/>
          </p:nvPr>
        </p:nvSpPr>
        <p:spPr>
          <a:xfrm>
            <a:off x="228599" y="228600"/>
            <a:ext cx="8972551" cy="561975"/>
          </a:xfrm>
          <a:prstGeom prst="rect">
            <a:avLst/>
          </a:prstGeom>
        </p:spPr>
        <p:txBody>
          <a:bodyPr lIns="0" tIns="0" rIns="0" bIns="0" anchor="t">
            <a:noAutofit/>
          </a:bodyPr>
          <a:lstStyle>
            <a:lvl1pPr>
              <a:defRPr lang="en-US" sz="3200" b="1" kern="1200" smtClean="0">
                <a:solidFill>
                  <a:schemeClr val="tx2"/>
                </a:solidFill>
                <a:latin typeface="Century Gothic" panose="020B0502020202020204" pitchFamily="34" charset="0"/>
                <a:ea typeface="Tahoma" panose="020B0604030504040204" pitchFamily="34" charset="0"/>
                <a:cs typeface="Tahoma" panose="020B0604030504040204" pitchFamily="34" charset="0"/>
              </a:defRPr>
            </a:lvl1pPr>
          </a:lstStyle>
          <a:p>
            <a:r>
              <a:rPr lang="en-US"/>
              <a:t>Click to edit Master title style</a:t>
            </a:r>
            <a:endParaRPr lang="en-IN"/>
          </a:p>
        </p:txBody>
      </p:sp>
      <p:sp>
        <p:nvSpPr>
          <p:cNvPr id="6" name="Text Placeholder 2">
            <a:extLst>
              <a:ext uri="{FF2B5EF4-FFF2-40B4-BE49-F238E27FC236}">
                <a16:creationId xmlns:a16="http://schemas.microsoft.com/office/drawing/2014/main" id="{E676D837-7E1D-69B0-D707-A9E16D8AAF8B}"/>
              </a:ext>
            </a:extLst>
          </p:cNvPr>
          <p:cNvSpPr>
            <a:spLocks noGrp="1"/>
          </p:cNvSpPr>
          <p:nvPr>
            <p:ph type="body" idx="1"/>
          </p:nvPr>
        </p:nvSpPr>
        <p:spPr>
          <a:xfrm>
            <a:off x="228598" y="691276"/>
            <a:ext cx="10189397" cy="452598"/>
          </a:xfrm>
          <a:prstGeom prst="rect">
            <a:avLst/>
          </a:prstGeom>
        </p:spPr>
        <p:txBody>
          <a:bodyPr lIns="0" tIns="0" rIns="0" bIns="0">
            <a:noAutofit/>
          </a:bodyPr>
          <a:lstStyle>
            <a:lvl1pPr marL="0" indent="0">
              <a:buNone/>
              <a:defRPr sz="2400" b="1">
                <a:solidFill>
                  <a:srgbClr val="FC6C0F"/>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2" name="Picture 11">
            <a:extLst>
              <a:ext uri="{FF2B5EF4-FFF2-40B4-BE49-F238E27FC236}">
                <a16:creationId xmlns:a16="http://schemas.microsoft.com/office/drawing/2014/main" id="{5124BDC8-F634-D2B4-EB54-CB70BB172B95}"/>
              </a:ext>
            </a:extLst>
          </p:cNvPr>
          <p:cNvPicPr>
            <a:picLocks noChangeAspect="1"/>
          </p:cNvPicPr>
          <p:nvPr userDrawn="1"/>
        </p:nvPicPr>
        <p:blipFill>
          <a:blip r:embed="rId3"/>
          <a:stretch>
            <a:fillRect/>
          </a:stretch>
        </p:blipFill>
        <p:spPr>
          <a:xfrm>
            <a:off x="0" y="5626104"/>
            <a:ext cx="12204357" cy="1257296"/>
          </a:xfrm>
          <a:prstGeom prst="rect">
            <a:avLst/>
          </a:prstGeom>
        </p:spPr>
      </p:pic>
      <p:sp>
        <p:nvSpPr>
          <p:cNvPr id="13" name="Slide Number Placeholder 4">
            <a:extLst>
              <a:ext uri="{FF2B5EF4-FFF2-40B4-BE49-F238E27FC236}">
                <a16:creationId xmlns:a16="http://schemas.microsoft.com/office/drawing/2014/main" id="{01FE2514-F719-3C9B-7DF5-2D9AE5B9DE20}"/>
              </a:ext>
            </a:extLst>
          </p:cNvPr>
          <p:cNvSpPr txBox="1">
            <a:spLocks/>
          </p:cNvSpPr>
          <p:nvPr userDrawn="1"/>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90883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96A35B37-C842-4852-980B-C663544714FE}" type="datetimeFigureOut">
              <a:rPr lang="en-US" smtClean="0"/>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78B7A7B-E2DC-471E-BFC9-FD3AF12C833F}" type="slidenum">
              <a:rPr lang="en-US" smtClean="0"/>
              <a:t>‹#›</a:t>
            </a:fld>
            <a:endParaRPr lang="en-US"/>
          </a:p>
        </p:txBody>
      </p:sp>
    </p:spTree>
    <p:extLst>
      <p:ext uri="{BB962C8B-B14F-4D97-AF65-F5344CB8AC3E}">
        <p14:creationId xmlns:p14="http://schemas.microsoft.com/office/powerpoint/2010/main" val="722284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61"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6" Type="http://schemas.openxmlformats.org/officeDocument/2006/relationships/theme" Target="../theme/theme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A35B37-C842-4852-980B-C663544714FE}" type="datetimeFigureOut">
              <a:rPr lang="en-US" smtClean="0"/>
              <a:t>1/2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B7A7B-E2DC-471E-BFC9-FD3AF12C833F}" type="slidenum">
              <a:rPr lang="en-US" smtClean="0"/>
              <a:t>‹#›</a:t>
            </a:fld>
            <a:endParaRPr lang="en-US"/>
          </a:p>
        </p:txBody>
      </p:sp>
    </p:spTree>
    <p:extLst>
      <p:ext uri="{BB962C8B-B14F-4D97-AF65-F5344CB8AC3E}">
        <p14:creationId xmlns:p14="http://schemas.microsoft.com/office/powerpoint/2010/main" val="20983986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4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072792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 id="2147483713" r:id="rId46"/>
    <p:sldLayoutId id="2147483714" r:id="rId47"/>
    <p:sldLayoutId id="2147483715" r:id="rId48"/>
    <p:sldLayoutId id="2147483716" r:id="rId49"/>
    <p:sldLayoutId id="2147483717" r:id="rId50"/>
    <p:sldLayoutId id="2147483718" r:id="rId51"/>
    <p:sldLayoutId id="2147483719" r:id="rId52"/>
    <p:sldLayoutId id="2147483720" r:id="rId53"/>
    <p:sldLayoutId id="2147483721" r:id="rId54"/>
    <p:sldLayoutId id="2147483722" r:id="rId55"/>
    <p:sldLayoutId id="2147483723" r:id="rId56"/>
    <p:sldLayoutId id="2147483724" r:id="rId57"/>
    <p:sldLayoutId id="2147483725" r:id="rId58"/>
    <p:sldLayoutId id="2147483726" r:id="rId59"/>
    <p:sldLayoutId id="2147483727" r:id="rId60"/>
  </p:sldLayoutIdLst>
  <p:hf hdr="0" ftr="0" dt="0"/>
  <p:txStyles>
    <p:titleStyle>
      <a:lvl1pPr algn="l" defTabSz="914400" rtl="0" eaLnBrk="1" latinLnBrk="0" hangingPunct="1">
        <a:lnSpc>
          <a:spcPct val="90000"/>
        </a:lnSpc>
        <a:spcBef>
          <a:spcPct val="0"/>
        </a:spcBef>
        <a:buNone/>
        <a:defRPr sz="44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SzPct val="80000"/>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SzPct val="80000"/>
        <a:buFont typeface="Wingdings" panose="05000000000000000000" pitchFamily="2" charset="2"/>
        <a:buChar char="q"/>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ü"/>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44">
          <p15:clr>
            <a:srgbClr val="F26B43"/>
          </p15:clr>
        </p15:guide>
        <p15:guide id="4" pos="628">
          <p15:clr>
            <a:srgbClr val="F26B43"/>
          </p15:clr>
        </p15:guide>
        <p15:guide id="5" pos="772">
          <p15:clr>
            <a:srgbClr val="F26B43"/>
          </p15:clr>
        </p15:guide>
        <p15:guide id="6" pos="1256">
          <p15:clr>
            <a:srgbClr val="F26B43"/>
          </p15:clr>
        </p15:guide>
        <p15:guide id="7" pos="1400">
          <p15:clr>
            <a:srgbClr val="F26B43"/>
          </p15:clr>
        </p15:guide>
        <p15:guide id="8" pos="1884">
          <p15:clr>
            <a:srgbClr val="F26B43"/>
          </p15:clr>
        </p15:guide>
        <p15:guide id="9" pos="2028">
          <p15:clr>
            <a:srgbClr val="F26B43"/>
          </p15:clr>
        </p15:guide>
        <p15:guide id="10" pos="2512">
          <p15:clr>
            <a:srgbClr val="F26B43"/>
          </p15:clr>
        </p15:guide>
        <p15:guide id="11" pos="2656">
          <p15:clr>
            <a:srgbClr val="F26B43"/>
          </p15:clr>
        </p15:guide>
        <p15:guide id="12" pos="3140">
          <p15:clr>
            <a:srgbClr val="F26B43"/>
          </p15:clr>
        </p15:guide>
        <p15:guide id="13" pos="3284">
          <p15:clr>
            <a:srgbClr val="F26B43"/>
          </p15:clr>
        </p15:guide>
        <p15:guide id="14" pos="3768">
          <p15:clr>
            <a:srgbClr val="F26B43"/>
          </p15:clr>
        </p15:guide>
        <p15:guide id="15" pos="3912">
          <p15:clr>
            <a:srgbClr val="F26B43"/>
          </p15:clr>
        </p15:guide>
        <p15:guide id="16" pos="4396">
          <p15:clr>
            <a:srgbClr val="F26B43"/>
          </p15:clr>
        </p15:guide>
        <p15:guide id="17" pos="4540">
          <p15:clr>
            <a:srgbClr val="F26B43"/>
          </p15:clr>
        </p15:guide>
        <p15:guide id="18" pos="5024">
          <p15:clr>
            <a:srgbClr val="F26B43"/>
          </p15:clr>
        </p15:guide>
        <p15:guide id="19" pos="5168">
          <p15:clr>
            <a:srgbClr val="F26B43"/>
          </p15:clr>
        </p15:guide>
        <p15:guide id="20" pos="5652">
          <p15:clr>
            <a:srgbClr val="F26B43"/>
          </p15:clr>
        </p15:guide>
        <p15:guide id="21" pos="5796">
          <p15:clr>
            <a:srgbClr val="F26B43"/>
          </p15:clr>
        </p15:guide>
        <p15:guide id="22" pos="6280">
          <p15:clr>
            <a:srgbClr val="F26B43"/>
          </p15:clr>
        </p15:guide>
        <p15:guide id="23" pos="6424">
          <p15:clr>
            <a:srgbClr val="F26B43"/>
          </p15:clr>
        </p15:guide>
        <p15:guide id="24" pos="6908">
          <p15:clr>
            <a:srgbClr val="F26B43"/>
          </p15:clr>
        </p15:guide>
        <p15:guide id="25" pos="7052">
          <p15:clr>
            <a:srgbClr val="F26B43"/>
          </p15:clr>
        </p15:guide>
        <p15:guide id="26" pos="7536">
          <p15:clr>
            <a:srgbClr val="F26B43"/>
          </p15:clr>
        </p15:guide>
        <p15:guide id="27" orient="horz">
          <p15:clr>
            <a:srgbClr val="F26B43"/>
          </p15:clr>
        </p15:guide>
        <p15:guide id="28" orient="horz" pos="4320">
          <p15:clr>
            <a:srgbClr val="F26B43"/>
          </p15:clr>
        </p15:guide>
        <p15:guide id="29" orient="horz" pos="144">
          <p15:clr>
            <a:srgbClr val="F26B43"/>
          </p15:clr>
        </p15:guide>
        <p15:guide id="30" orient="horz" pos="2088">
          <p15:clr>
            <a:srgbClr val="F26B43"/>
          </p15:clr>
        </p15:guide>
        <p15:guide id="31" orient="horz" pos="2232">
          <p15:clr>
            <a:srgbClr val="F26B43"/>
          </p15:clr>
        </p15:guide>
        <p15:guide id="32" orient="horz" pos="41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6313" y="365125"/>
            <a:ext cx="11231335"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46314" y="1825625"/>
            <a:ext cx="11231336"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id="{6D649E12-A165-44F4-81C9-97B04167398E}"/>
              </a:ext>
            </a:extLst>
          </p:cNvPr>
          <p:cNvSpPr>
            <a:spLocks noGrp="1"/>
          </p:cNvSpPr>
          <p:nvPr>
            <p:ph type="dt" sz="half" idx="2"/>
          </p:nvPr>
        </p:nvSpPr>
        <p:spPr>
          <a:xfrm>
            <a:off x="4724400" y="6423025"/>
            <a:ext cx="2743200" cy="365125"/>
          </a:xfrm>
          <a:prstGeom prst="rect">
            <a:avLst/>
          </a:prstGeom>
        </p:spPr>
        <p:txBody>
          <a:bodyPr anchor="ctr"/>
          <a:lstStyle>
            <a:lvl1pPr algn="ctr">
              <a:defRPr sz="1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ONFIDENTIAL &amp; PROPRIETARY</a:t>
            </a:r>
            <a:endParaRPr lang="en-US" dirty="0"/>
          </a:p>
        </p:txBody>
      </p:sp>
    </p:spTree>
    <p:extLst>
      <p:ext uri="{BB962C8B-B14F-4D97-AF65-F5344CB8AC3E}">
        <p14:creationId xmlns:p14="http://schemas.microsoft.com/office/powerpoint/2010/main" val="1636288365"/>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Lst>
  <p:hf sldNum="0" hdr="0" ftr="0"/>
  <p:txStyles>
    <p:titleStyle>
      <a:lvl1pPr algn="l" defTabSz="914400" rtl="0" eaLnBrk="1" latinLnBrk="0" hangingPunct="1">
        <a:lnSpc>
          <a:spcPct val="90000"/>
        </a:lnSpc>
        <a:spcBef>
          <a:spcPct val="0"/>
        </a:spcBef>
        <a:buNone/>
        <a:defRPr sz="44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40.emf"/><Relationship Id="rId5" Type="http://schemas.openxmlformats.org/officeDocument/2006/relationships/oleObject" Target="../embeddings/oleObject2.bin"/><Relationship Id="rId4" Type="http://schemas.openxmlformats.org/officeDocument/2006/relationships/image" Target="../media/image41.png"/></Relationships>
</file>

<file path=ppt/slides/_rels/slide1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88.xml"/><Relationship Id="rId4" Type="http://schemas.openxmlformats.org/officeDocument/2006/relationships/image" Target="../media/image64.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2.png"/></Relationships>
</file>

<file path=ppt/slides/_rels/slide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vmlDrawing" Target="../drawings/vmlDrawing3.vml"/><Relationship Id="rId4" Type="http://schemas.openxmlformats.org/officeDocument/2006/relationships/image" Target="../media/image68.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3.xml"/><Relationship Id="rId1" Type="http://schemas.openxmlformats.org/officeDocument/2006/relationships/vmlDrawing" Target="../drawings/vmlDrawing4.vml"/><Relationship Id="rId5" Type="http://schemas.openxmlformats.org/officeDocument/2006/relationships/image" Target="../media/image69.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88.xml"/></Relationships>
</file>

<file path=ppt/slides/_rels/slide29.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73.jpeg"/><Relationship Id="rId4" Type="http://schemas.openxmlformats.org/officeDocument/2006/relationships/image" Target="../media/image72.jpeg"/></Relationships>
</file>

<file path=ppt/slides/_rels/slide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3.png"/><Relationship Id="rId7"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198.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8.png"/><Relationship Id="rId7" Type="http://schemas.openxmlformats.org/officeDocument/2006/relationships/image" Target="../media/image200.svg"/><Relationship Id="rId2" Type="http://schemas.openxmlformats.org/officeDocument/2006/relationships/image" Target="../media/image77.png"/><Relationship Id="rId1" Type="http://schemas.openxmlformats.org/officeDocument/2006/relationships/slideLayout" Target="../slideLayouts/slideLayout12.xml"/><Relationship Id="rId5" Type="http://schemas.openxmlformats.org/officeDocument/2006/relationships/image" Target="../media/image80.png"/><Relationship Id="rId4" Type="http://schemas.openxmlformats.org/officeDocument/2006/relationships/image" Target="../media/image79.png"/></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3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39.xml"/><Relationship Id="rId5" Type="http://schemas.openxmlformats.org/officeDocument/2006/relationships/image" Target="../media/image52.png"/><Relationship Id="rId4" Type="http://schemas.openxmlformats.org/officeDocument/2006/relationships/image" Target="../media/image5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0" y="0"/>
            <a:ext cx="12192000" cy="6858001"/>
          </a:xfrm>
          <a:prstGeom prst="rect">
            <a:avLst/>
          </a:prstGeom>
        </p:spPr>
      </p:pic>
      <p:graphicFrame>
        <p:nvGraphicFramePr>
          <p:cNvPr id="5" name="Object 4"/>
          <p:cNvGraphicFramePr>
            <a:graphicFrameLocks noChangeAspect="1"/>
          </p:cNvGraphicFramePr>
          <p:nvPr>
            <p:extLst>
              <p:ext uri="{D42A27DB-BD31-4B8C-83A1-F6EECF244321}">
                <p14:modId xmlns:p14="http://schemas.microsoft.com/office/powerpoint/2010/main" val="4039002519"/>
              </p:ext>
            </p:extLst>
          </p:nvPr>
        </p:nvGraphicFramePr>
        <p:xfrm>
          <a:off x="3505880" y="365760"/>
          <a:ext cx="5028519" cy="6505582"/>
        </p:xfrm>
        <a:graphic>
          <a:graphicData uri="http://schemas.openxmlformats.org/presentationml/2006/ole">
            <mc:AlternateContent xmlns:mc="http://schemas.openxmlformats.org/markup-compatibility/2006">
              <mc:Choice xmlns:v="urn:schemas-microsoft-com:vml" Requires="v">
                <p:oleObj spid="_x0000_s2064" name="Acrobat Document" r:id="rId5" imgW="4663440" imgH="6034757" progId="AcroExch.Document.DC">
                  <p:embed/>
                </p:oleObj>
              </mc:Choice>
              <mc:Fallback>
                <p:oleObj name="Acrobat Document" r:id="rId5" imgW="4663440" imgH="6034757" progId="AcroExch.Document.DC">
                  <p:embed/>
                  <p:pic>
                    <p:nvPicPr>
                      <p:cNvPr id="4" name="Object 3"/>
                      <p:cNvPicPr/>
                      <p:nvPr/>
                    </p:nvPicPr>
                    <p:blipFill>
                      <a:blip r:embed="rId6"/>
                      <a:stretch>
                        <a:fillRect/>
                      </a:stretch>
                    </p:blipFill>
                    <p:spPr>
                      <a:xfrm>
                        <a:off x="3505880" y="365760"/>
                        <a:ext cx="5028519" cy="6505582"/>
                      </a:xfrm>
                      <a:prstGeom prst="rect">
                        <a:avLst/>
                      </a:prstGeom>
                    </p:spPr>
                  </p:pic>
                </p:oleObj>
              </mc:Fallback>
            </mc:AlternateContent>
          </a:graphicData>
        </a:graphic>
      </p:graphicFrame>
    </p:spTree>
    <p:extLst>
      <p:ext uri="{BB962C8B-B14F-4D97-AF65-F5344CB8AC3E}">
        <p14:creationId xmlns:p14="http://schemas.microsoft.com/office/powerpoint/2010/main" val="32821360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r>
              <a:rPr lang="en-US"/>
              <a:t>CONFIDENTIAL &amp; PROPRIETARY</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393479">
            <a:off x="4517748" y="367428"/>
            <a:ext cx="7203637" cy="5564810"/>
          </a:xfrm>
          <a:prstGeom prst="rect">
            <a:avLst/>
          </a:prstGeom>
        </p:spPr>
      </p:pic>
      <p:sp>
        <p:nvSpPr>
          <p:cNvPr id="7" name="TextBox 6"/>
          <p:cNvSpPr txBox="1"/>
          <p:nvPr/>
        </p:nvSpPr>
        <p:spPr>
          <a:xfrm>
            <a:off x="237744" y="512064"/>
            <a:ext cx="3694176" cy="769441"/>
          </a:xfrm>
          <a:prstGeom prst="rect">
            <a:avLst/>
          </a:prstGeom>
          <a:noFill/>
        </p:spPr>
        <p:txBody>
          <a:bodyPr wrap="square" rtlCol="0">
            <a:spAutoFit/>
          </a:bodyPr>
          <a:lstStyle/>
          <a:p>
            <a:r>
              <a:rPr lang="en-US" sz="4400" b="1" dirty="0" smtClean="0">
                <a:solidFill>
                  <a:srgbClr val="00B050"/>
                </a:solidFill>
              </a:rPr>
              <a:t>Goal Getter </a:t>
            </a:r>
            <a:endParaRPr lang="en-US" sz="4400" b="1" dirty="0">
              <a:solidFill>
                <a:srgbClr val="00B050"/>
              </a:solidFill>
            </a:endParaRPr>
          </a:p>
        </p:txBody>
      </p:sp>
      <p:pic>
        <p:nvPicPr>
          <p:cNvPr id="8" name="Picture 7" descr="Chart&#10;&#10;Description automatically generated">
            <a:extLst>
              <a:ext uri="{FF2B5EF4-FFF2-40B4-BE49-F238E27FC236}">
                <a16:creationId xmlns:a16="http://schemas.microsoft.com/office/drawing/2014/main" id="{BCF19186-9348-0B45-AD86-76BB1A8CC06C}"/>
              </a:ext>
            </a:extLst>
          </p:cNvPr>
          <p:cNvPicPr>
            <a:picLocks noChangeAspect="1"/>
          </p:cNvPicPr>
          <p:nvPr/>
        </p:nvPicPr>
        <p:blipFill>
          <a:blip r:embed="rId4"/>
          <a:stretch>
            <a:fillRect/>
          </a:stretch>
        </p:blipFill>
        <p:spPr>
          <a:xfrm>
            <a:off x="524359" y="2161617"/>
            <a:ext cx="2700004" cy="27000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2334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0"/>
            <a:ext cx="6724471" cy="6413548"/>
          </a:xfrm>
          <a:prstGeom prst="rect">
            <a:avLst/>
          </a:prstGeom>
        </p:spPr>
      </p:pic>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r>
              <a:rPr lang="en-US"/>
              <a:t>CONFIDENTIAL &amp; PROPRIETARY</a:t>
            </a:r>
            <a:endParaRPr lang="en-US" dirty="0"/>
          </a:p>
        </p:txBody>
      </p:sp>
      <p:pic>
        <p:nvPicPr>
          <p:cNvPr id="4" name="Picture 3"/>
          <p:cNvPicPr>
            <a:picLocks noChangeAspect="1"/>
          </p:cNvPicPr>
          <p:nvPr/>
        </p:nvPicPr>
        <p:blipFill>
          <a:blip r:embed="rId3"/>
          <a:stretch>
            <a:fillRect/>
          </a:stretch>
        </p:blipFill>
        <p:spPr>
          <a:xfrm>
            <a:off x="7546655" y="1226413"/>
            <a:ext cx="4450466" cy="4151736"/>
          </a:xfrm>
          <a:prstGeom prst="rect">
            <a:avLst/>
          </a:prstGeom>
        </p:spPr>
      </p:pic>
    </p:spTree>
    <p:extLst>
      <p:ext uri="{BB962C8B-B14F-4D97-AF65-F5344CB8AC3E}">
        <p14:creationId xmlns:p14="http://schemas.microsoft.com/office/powerpoint/2010/main" val="6003939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March Booths </a:t>
            </a:r>
            <a:endParaRPr lang="en-US" dirty="0"/>
          </a:p>
        </p:txBody>
      </p:sp>
      <p:sp>
        <p:nvSpPr>
          <p:cNvPr id="3" name="Text Placeholder 2"/>
          <p:cNvSpPr>
            <a:spLocks noGrp="1"/>
          </p:cNvSpPr>
          <p:nvPr>
            <p:ph type="body" idx="1"/>
          </p:nvPr>
        </p:nvSpPr>
        <p:spPr/>
        <p:txBody>
          <a:bodyPr/>
          <a:lstStyle/>
          <a:p>
            <a:pPr algn="ctr"/>
            <a:r>
              <a:rPr lang="en-US" dirty="0" smtClean="0"/>
              <a:t>2022- Preseason</a:t>
            </a:r>
            <a:endParaRPr lang="en-US" dirty="0"/>
          </a:p>
        </p:txBody>
      </p:sp>
      <p:sp>
        <p:nvSpPr>
          <p:cNvPr id="4" name="Rectangle 3"/>
          <p:cNvSpPr/>
          <p:nvPr/>
        </p:nvSpPr>
        <p:spPr>
          <a:xfrm>
            <a:off x="765890" y="1262551"/>
            <a:ext cx="10134599" cy="4524315"/>
          </a:xfrm>
          <a:prstGeom prst="rect">
            <a:avLst/>
          </a:prstGeom>
          <a:solidFill>
            <a:schemeClr val="bg1"/>
          </a:solidFill>
        </p:spPr>
        <p:txBody>
          <a:bodyPr wrap="square">
            <a:spAutoFit/>
          </a:bodyPr>
          <a:lstStyle/>
          <a:p>
            <a:pPr marL="457200" indent="-457200">
              <a:lnSpc>
                <a:spcPct val="150000"/>
              </a:lnSpc>
              <a:buFont typeface="Arial" panose="020B0604020202020204" pitchFamily="34" charset="0"/>
              <a:buChar char="•"/>
              <a:defRPr/>
            </a:pPr>
            <a:r>
              <a:rPr lang="en-US" sz="3200" b="1" dirty="0">
                <a:solidFill>
                  <a:srgbClr val="00B050"/>
                </a:solidFill>
                <a:latin typeface="Girl Scout Text Medium" panose="02020003000000000000" pitchFamily="18" charset="0"/>
              </a:rPr>
              <a:t>3 </a:t>
            </a:r>
            <a:r>
              <a:rPr lang="en-US" sz="3200" b="1" dirty="0" smtClean="0">
                <a:solidFill>
                  <a:srgbClr val="00B050"/>
                </a:solidFill>
                <a:latin typeface="Girl Scout Text Medium" panose="02020003000000000000" pitchFamily="18" charset="0"/>
              </a:rPr>
              <a:t>weekends March 10</a:t>
            </a:r>
            <a:r>
              <a:rPr lang="en-US" sz="3200" b="1" baseline="30000" dirty="0" smtClean="0">
                <a:solidFill>
                  <a:srgbClr val="00B050"/>
                </a:solidFill>
                <a:latin typeface="Girl Scout Text Medium" panose="02020003000000000000" pitchFamily="18" charset="0"/>
              </a:rPr>
              <a:t>th</a:t>
            </a:r>
            <a:r>
              <a:rPr lang="en-US" sz="3200" b="1" dirty="0" smtClean="0">
                <a:solidFill>
                  <a:srgbClr val="00B050"/>
                </a:solidFill>
                <a:latin typeface="Girl Scout Text Medium" panose="02020003000000000000" pitchFamily="18" charset="0"/>
              </a:rPr>
              <a:t>-26</a:t>
            </a:r>
            <a:r>
              <a:rPr lang="en-US" sz="3200" b="1" baseline="30000" dirty="0" smtClean="0">
                <a:solidFill>
                  <a:srgbClr val="00B050"/>
                </a:solidFill>
                <a:latin typeface="Girl Scout Text Medium" panose="02020003000000000000" pitchFamily="18" charset="0"/>
              </a:rPr>
              <a:t>th</a:t>
            </a:r>
            <a:r>
              <a:rPr lang="en-US" sz="3200" b="1" dirty="0" smtClean="0">
                <a:solidFill>
                  <a:srgbClr val="00B050"/>
                </a:solidFill>
                <a:latin typeface="Girl Scout Text Medium" panose="02020003000000000000" pitchFamily="18" charset="0"/>
              </a:rPr>
              <a:t> </a:t>
            </a:r>
            <a:endParaRPr lang="en-US" sz="3200" b="1" dirty="0">
              <a:solidFill>
                <a:srgbClr val="00B050"/>
              </a:solidFill>
              <a:latin typeface="Girl Scout Text Medium" panose="02020003000000000000" pitchFamily="18" charset="0"/>
            </a:endParaRPr>
          </a:p>
          <a:p>
            <a:pPr marL="457200" indent="-457200">
              <a:lnSpc>
                <a:spcPct val="150000"/>
              </a:lnSpc>
              <a:buFont typeface="Arial" panose="020B0604020202020204" pitchFamily="34" charset="0"/>
              <a:buChar char="•"/>
              <a:defRPr/>
            </a:pPr>
            <a:r>
              <a:rPr lang="en-US" sz="3200" b="1" dirty="0">
                <a:solidFill>
                  <a:srgbClr val="00B050"/>
                </a:solidFill>
                <a:latin typeface="Girl Scout Text Medium" panose="02020003000000000000" pitchFamily="18" charset="0"/>
              </a:rPr>
              <a:t>Troops can enter “My Sales” booth locations</a:t>
            </a:r>
          </a:p>
          <a:p>
            <a:pPr marL="457200" indent="-457200">
              <a:lnSpc>
                <a:spcPct val="150000"/>
              </a:lnSpc>
              <a:buFont typeface="Arial" panose="020B0604020202020204" pitchFamily="34" charset="0"/>
              <a:buChar char="•"/>
              <a:defRPr/>
            </a:pPr>
            <a:r>
              <a:rPr lang="en-US" sz="3200" b="1" dirty="0" smtClean="0">
                <a:solidFill>
                  <a:srgbClr val="00B050"/>
                </a:solidFill>
                <a:latin typeface="Girl Scout Text Medium" panose="02020003000000000000" pitchFamily="18" charset="0"/>
              </a:rPr>
              <a:t>Council </a:t>
            </a:r>
            <a:r>
              <a:rPr lang="en-US" sz="3200" b="1" dirty="0">
                <a:solidFill>
                  <a:srgbClr val="00B050"/>
                </a:solidFill>
                <a:latin typeface="Girl Scout Text Medium" panose="02020003000000000000" pitchFamily="18" charset="0"/>
              </a:rPr>
              <a:t>arranged locations will be in </a:t>
            </a:r>
            <a:r>
              <a:rPr lang="en-US" sz="3200" b="1" dirty="0" smtClean="0">
                <a:solidFill>
                  <a:srgbClr val="00B050"/>
                </a:solidFill>
                <a:latin typeface="Girl Scout Text Medium" panose="02020003000000000000" pitchFamily="18" charset="0"/>
              </a:rPr>
              <a:t>eBudde</a:t>
            </a:r>
          </a:p>
          <a:p>
            <a:pPr marL="457200" indent="-457200">
              <a:lnSpc>
                <a:spcPct val="150000"/>
              </a:lnSpc>
              <a:buFont typeface="Arial" panose="020B0604020202020204" pitchFamily="34" charset="0"/>
              <a:buChar char="•"/>
              <a:defRPr/>
            </a:pPr>
            <a:r>
              <a:rPr lang="en-US" sz="3200" b="1" dirty="0" smtClean="0">
                <a:solidFill>
                  <a:srgbClr val="00B050"/>
                </a:solidFill>
                <a:latin typeface="Girl Scout Text Medium" panose="02020003000000000000" pitchFamily="18" charset="0"/>
              </a:rPr>
              <a:t> </a:t>
            </a:r>
            <a:r>
              <a:rPr lang="en-US" sz="3200" b="1" dirty="0" smtClean="0">
                <a:solidFill>
                  <a:srgbClr val="00B050"/>
                </a:solidFill>
                <a:latin typeface="Girl Scout Text Medium" panose="02020003000000000000" pitchFamily="18" charset="0"/>
                <a:sym typeface="Wingdings" panose="05000000000000000000" pitchFamily="2" charset="2"/>
              </a:rPr>
              <a:t>Order </a:t>
            </a:r>
            <a:r>
              <a:rPr lang="en-US" sz="3200" b="1" dirty="0">
                <a:solidFill>
                  <a:srgbClr val="00B050"/>
                </a:solidFill>
                <a:latin typeface="Girl Scout Text Medium" panose="02020003000000000000" pitchFamily="18" charset="0"/>
                <a:sym typeface="Wingdings" panose="05000000000000000000" pitchFamily="2" charset="2"/>
              </a:rPr>
              <a:t>cookies by February </a:t>
            </a:r>
            <a:r>
              <a:rPr lang="en-US" sz="3200" b="1" dirty="0" smtClean="0">
                <a:solidFill>
                  <a:srgbClr val="00B050"/>
                </a:solidFill>
                <a:latin typeface="Girl Scout Text Medium" panose="02020003000000000000" pitchFamily="18" charset="0"/>
                <a:sym typeface="Wingdings" panose="05000000000000000000" pitchFamily="2" charset="2"/>
              </a:rPr>
              <a:t>9th</a:t>
            </a:r>
            <a:endParaRPr lang="en-US" sz="3200" b="1" dirty="0">
              <a:solidFill>
                <a:srgbClr val="00B050"/>
              </a:solidFill>
              <a:latin typeface="Girl Scout Text Medium" panose="02020003000000000000" pitchFamily="18" charset="0"/>
              <a:sym typeface="Wingdings" panose="05000000000000000000" pitchFamily="2" charset="2"/>
            </a:endParaRPr>
          </a:p>
          <a:p>
            <a:pPr>
              <a:lnSpc>
                <a:spcPct val="150000"/>
              </a:lnSpc>
              <a:defRPr/>
            </a:pPr>
            <a:r>
              <a:rPr lang="en-US" sz="3200" b="1" dirty="0">
                <a:solidFill>
                  <a:srgbClr val="00B050"/>
                </a:solidFill>
                <a:latin typeface="Girl Scout Text Medium" panose="02020003000000000000" pitchFamily="18" charset="0"/>
                <a:sym typeface="Wingdings" panose="05000000000000000000" pitchFamily="2" charset="2"/>
              </a:rPr>
              <a:t>     Choose cupboard desired for pickup </a:t>
            </a:r>
          </a:p>
          <a:p>
            <a:pPr>
              <a:lnSpc>
                <a:spcPct val="150000"/>
              </a:lnSpc>
              <a:defRPr/>
            </a:pPr>
            <a:r>
              <a:rPr lang="en-US" sz="3200" b="1" dirty="0">
                <a:solidFill>
                  <a:srgbClr val="00B050"/>
                </a:solidFill>
                <a:latin typeface="Girl Scout Text Medium" panose="02020003000000000000" pitchFamily="18" charset="0"/>
                <a:sym typeface="Wingdings" panose="05000000000000000000" pitchFamily="2" charset="2"/>
              </a:rPr>
              <a:t>     Choose quantitie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45168" y="2741133"/>
            <a:ext cx="2525811" cy="25258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239736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0"/>
            <a:ext cx="10762489" cy="1216152"/>
          </a:xfrm>
        </p:spPr>
        <p:txBody>
          <a:bodyPr/>
          <a:lstStyle/>
          <a:p>
            <a:pPr algn="ctr"/>
            <a:r>
              <a:rPr lang="en-US" dirty="0" smtClean="0"/>
              <a:t>How do I get more cookies?</a:t>
            </a:r>
            <a:endParaRPr lang="en-US" dirty="0"/>
          </a:p>
        </p:txBody>
      </p:sp>
      <p:sp>
        <p:nvSpPr>
          <p:cNvPr id="4" name="Rectangle 3"/>
          <p:cNvSpPr/>
          <p:nvPr/>
        </p:nvSpPr>
        <p:spPr>
          <a:xfrm>
            <a:off x="1298448" y="2146598"/>
            <a:ext cx="7662672" cy="2121606"/>
          </a:xfrm>
          <a:prstGeom prst="rect">
            <a:avLst/>
          </a:prstGeom>
        </p:spPr>
        <p:txBody>
          <a:bodyPr wrap="square">
            <a:spAutoFit/>
          </a:bodyPr>
          <a:lstStyle/>
          <a:p>
            <a:pPr marL="228600" lvl="0" indent="-228600">
              <a:lnSpc>
                <a:spcPct val="90000"/>
              </a:lnSpc>
              <a:spcBef>
                <a:spcPts val="1000"/>
              </a:spcBef>
              <a:buFont typeface="Arial" panose="020B0604020202020204" pitchFamily="34" charset="0"/>
              <a:buChar char="•"/>
            </a:pPr>
            <a:r>
              <a:rPr lang="en-US" altLang="en-US" sz="3200" b="1" dirty="0">
                <a:solidFill>
                  <a:srgbClr val="00B050"/>
                </a:solidFill>
                <a:latin typeface="Girl Scout Text Medium" panose="02020003000000000000" pitchFamily="18" charset="0"/>
              </a:rPr>
              <a:t>Cupboards at GSHH offices or in outlying areas (see eBudde or website)</a:t>
            </a:r>
          </a:p>
          <a:p>
            <a:pPr marL="228600" lvl="0" indent="-228600">
              <a:lnSpc>
                <a:spcPct val="90000"/>
              </a:lnSpc>
              <a:spcBef>
                <a:spcPts val="1000"/>
              </a:spcBef>
              <a:buFont typeface="Arial" panose="020B0604020202020204" pitchFamily="34" charset="0"/>
              <a:buChar char="•"/>
            </a:pPr>
            <a:endParaRPr lang="en-US" altLang="en-US" sz="3200" b="1" dirty="0">
              <a:solidFill>
                <a:srgbClr val="00B050"/>
              </a:solidFill>
              <a:latin typeface="Girl Scout Text Medium" panose="02020003000000000000" pitchFamily="18" charset="0"/>
            </a:endParaRPr>
          </a:p>
          <a:p>
            <a:pPr marL="228600" lvl="0" indent="-228600">
              <a:lnSpc>
                <a:spcPct val="90000"/>
              </a:lnSpc>
              <a:spcBef>
                <a:spcPts val="1000"/>
              </a:spcBef>
              <a:buFont typeface="Arial" panose="020B0604020202020204" pitchFamily="34" charset="0"/>
              <a:buChar char="•"/>
            </a:pPr>
            <a:r>
              <a:rPr lang="en-US" altLang="en-US" sz="3200" b="1" dirty="0">
                <a:solidFill>
                  <a:srgbClr val="00B050"/>
                </a:solidFill>
                <a:latin typeface="Girl Scout Text Medium" panose="02020003000000000000" pitchFamily="18" charset="0"/>
              </a:rPr>
              <a:t>Cookie Exchange tab in eBudde</a:t>
            </a:r>
          </a:p>
        </p:txBody>
      </p:sp>
      <p:pic>
        <p:nvPicPr>
          <p:cNvPr id="5" name="Picture 4"/>
          <p:cNvPicPr>
            <a:picLocks noChangeAspect="1"/>
          </p:cNvPicPr>
          <p:nvPr/>
        </p:nvPicPr>
        <p:blipFill>
          <a:blip r:embed="rId3"/>
          <a:stretch>
            <a:fillRect/>
          </a:stretch>
        </p:blipFill>
        <p:spPr>
          <a:xfrm>
            <a:off x="8094596" y="1938348"/>
            <a:ext cx="4097403" cy="3822372"/>
          </a:xfrm>
          <a:prstGeom prst="rect">
            <a:avLst/>
          </a:prstGeom>
        </p:spPr>
      </p:pic>
    </p:spTree>
    <p:extLst>
      <p:ext uri="{BB962C8B-B14F-4D97-AF65-F5344CB8AC3E}">
        <p14:creationId xmlns:p14="http://schemas.microsoft.com/office/powerpoint/2010/main" val="10781154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ltLang="en-US" dirty="0">
                <a:solidFill>
                  <a:srgbClr val="0070C0"/>
                </a:solidFill>
                <a:latin typeface="Girl Scout Text Medium" panose="02020003000000000000" pitchFamily="18" charset="0"/>
              </a:rPr>
              <a:t>April/May Booths </a:t>
            </a:r>
            <a:r>
              <a:rPr lang="en-US" altLang="en-US" dirty="0" smtClean="0">
                <a:solidFill>
                  <a:srgbClr val="0070C0"/>
                </a:solidFill>
                <a:latin typeface="Girl Scout Text Medium" panose="02020003000000000000" pitchFamily="18" charset="0"/>
              </a:rPr>
              <a:t>4/21-5/14</a:t>
            </a:r>
            <a:r>
              <a:rPr lang="en-US" dirty="0">
                <a:latin typeface="Girl Scout Text Medium" panose="02020003000000000000" pitchFamily="18" charset="0"/>
              </a:rPr>
              <a:t/>
            </a:r>
            <a:br>
              <a:rPr lang="en-US" dirty="0">
                <a:latin typeface="Girl Scout Text Medium" panose="02020003000000000000" pitchFamily="18" charset="0"/>
              </a:rPr>
            </a:br>
            <a:endParaRPr lang="en-US" dirty="0"/>
          </a:p>
        </p:txBody>
      </p:sp>
      <p:sp>
        <p:nvSpPr>
          <p:cNvPr id="4" name="Rectangle 3"/>
          <p:cNvSpPr/>
          <p:nvPr/>
        </p:nvSpPr>
        <p:spPr>
          <a:xfrm>
            <a:off x="987552" y="1444753"/>
            <a:ext cx="8028432" cy="4185761"/>
          </a:xfrm>
          <a:prstGeom prst="rect">
            <a:avLst/>
          </a:prstGeom>
        </p:spPr>
        <p:txBody>
          <a:bodyPr wrap="square">
            <a:spAutoFit/>
          </a:bodyPr>
          <a:lstStyle/>
          <a:p>
            <a:pPr lvl="0"/>
            <a:r>
              <a:rPr lang="en-US" altLang="en-US" sz="2800" b="1" dirty="0">
                <a:solidFill>
                  <a:srgbClr val="00B050"/>
                </a:solidFill>
                <a:latin typeface="Girl Scout Text Medium" panose="02020003000000000000" pitchFamily="18" charset="0"/>
              </a:rPr>
              <a:t>Please enter your troop-arranged Booth Sales in eBudde—help people find you in Cookie Finder!</a:t>
            </a:r>
          </a:p>
          <a:p>
            <a:pPr lvl="0"/>
            <a:endParaRPr lang="en-US" altLang="en-US" sz="2800" b="1" dirty="0">
              <a:solidFill>
                <a:srgbClr val="00B050"/>
              </a:solidFill>
              <a:latin typeface="Girl Scout Text Medium" panose="02020003000000000000" pitchFamily="18" charset="0"/>
            </a:endParaRPr>
          </a:p>
          <a:p>
            <a:pPr lvl="0"/>
            <a:endParaRPr lang="en-US" altLang="en-US" sz="2800" b="1" dirty="0">
              <a:solidFill>
                <a:srgbClr val="00B050"/>
              </a:solidFill>
              <a:latin typeface="Girl Scout Text Medium" panose="02020003000000000000" pitchFamily="18" charset="0"/>
            </a:endParaRPr>
          </a:p>
          <a:p>
            <a:pPr lvl="0"/>
            <a:r>
              <a:rPr lang="en-US" altLang="en-US" sz="2800" b="1" dirty="0">
                <a:solidFill>
                  <a:srgbClr val="00B050"/>
                </a:solidFill>
                <a:latin typeface="Girl Scout Text Medium" panose="02020003000000000000" pitchFamily="18" charset="0"/>
              </a:rPr>
              <a:t>Booth sales </a:t>
            </a:r>
          </a:p>
          <a:p>
            <a:pPr lvl="1">
              <a:lnSpc>
                <a:spcPct val="150000"/>
              </a:lnSpc>
              <a:buFont typeface="Arial" panose="020B0604020202020204" pitchFamily="34" charset="0"/>
              <a:buChar char="•"/>
            </a:pPr>
            <a:r>
              <a:rPr lang="en-US" altLang="en-US" sz="2800" b="1" dirty="0">
                <a:solidFill>
                  <a:srgbClr val="00B050"/>
                </a:solidFill>
                <a:latin typeface="Girl Scout Text Medium" panose="02020003000000000000" pitchFamily="18" charset="0"/>
              </a:rPr>
              <a:t>Boost troop profit</a:t>
            </a:r>
          </a:p>
          <a:p>
            <a:pPr lvl="1">
              <a:lnSpc>
                <a:spcPct val="150000"/>
              </a:lnSpc>
              <a:buFont typeface="Arial" panose="020B0604020202020204" pitchFamily="34" charset="0"/>
              <a:buChar char="•"/>
            </a:pPr>
            <a:r>
              <a:rPr lang="en-US" altLang="en-US" sz="2800" b="1" dirty="0">
                <a:solidFill>
                  <a:srgbClr val="00B050"/>
                </a:solidFill>
                <a:latin typeface="Girl Scout Text Medium" panose="02020003000000000000" pitchFamily="18" charset="0"/>
              </a:rPr>
              <a:t>Gives girls chance to get to higher reward level</a:t>
            </a:r>
          </a:p>
          <a:p>
            <a:pPr lvl="1">
              <a:lnSpc>
                <a:spcPct val="150000"/>
              </a:lnSpc>
              <a:buFont typeface="Arial" panose="020B0604020202020204" pitchFamily="34" charset="0"/>
              <a:buChar char="•"/>
            </a:pPr>
            <a:r>
              <a:rPr lang="en-US" altLang="en-US" sz="2800" b="1" dirty="0">
                <a:solidFill>
                  <a:srgbClr val="00B050"/>
                </a:solidFill>
                <a:latin typeface="Girl Scout Text Medium" panose="02020003000000000000" pitchFamily="18" charset="0"/>
              </a:rPr>
              <a:t>Helps SU get closer to SU Cookie Bonus </a:t>
            </a:r>
            <a:endParaRPr lang="en-US" sz="2800" dirty="0">
              <a:solidFill>
                <a:prstClr val="black"/>
              </a:solidFill>
              <a:latin typeface="Girl Scout Text Medium" panose="02020003000000000000" pitchFamily="18" charset="0"/>
            </a:endParaRPr>
          </a:p>
        </p:txBody>
      </p:sp>
      <p:pic>
        <p:nvPicPr>
          <p:cNvPr id="5" name="Picture 4">
            <a:extLst>
              <a:ext uri="{FF2B5EF4-FFF2-40B4-BE49-F238E27FC236}">
                <a16:creationId xmlns:a16="http://schemas.microsoft.com/office/drawing/2014/main" id="{BDE7FB77-1B81-4999-E094-2126281105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194209">
            <a:off x="8268433" y="2370589"/>
            <a:ext cx="3443970" cy="1908803"/>
          </a:xfrm>
          <a:prstGeom prst="rect">
            <a:avLst/>
          </a:prstGeom>
        </p:spPr>
      </p:pic>
    </p:spTree>
    <p:extLst>
      <p:ext uri="{BB962C8B-B14F-4D97-AF65-F5344CB8AC3E}">
        <p14:creationId xmlns:p14="http://schemas.microsoft.com/office/powerpoint/2010/main" val="9667375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04673" y="713232"/>
            <a:ext cx="9363456" cy="1152144"/>
          </a:xfrm>
        </p:spPr>
        <p:txBody>
          <a:bodyPr/>
          <a:lstStyle/>
          <a:p>
            <a:pPr algn="ctr"/>
            <a:r>
              <a:rPr lang="en-US" sz="9600" dirty="0" smtClean="0"/>
              <a:t>Questions </a:t>
            </a:r>
            <a:endParaRPr lang="en-US" sz="9600" dirty="0"/>
          </a:p>
        </p:txBody>
      </p:sp>
      <p:pic>
        <p:nvPicPr>
          <p:cNvPr id="4" name="Picture 3">
            <a:extLst>
              <a:ext uri="{FF2B5EF4-FFF2-40B4-BE49-F238E27FC236}">
                <a16:creationId xmlns:a16="http://schemas.microsoft.com/office/drawing/2014/main" id="{B86AE082-258D-487B-A008-C7A863E80292}"/>
              </a:ext>
            </a:extLst>
          </p:cNvPr>
          <p:cNvPicPr>
            <a:picLocks noChangeAspect="1"/>
          </p:cNvPicPr>
          <p:nvPr/>
        </p:nvPicPr>
        <p:blipFill>
          <a:blip r:embed="rId2"/>
          <a:stretch>
            <a:fillRect/>
          </a:stretch>
        </p:blipFill>
        <p:spPr>
          <a:xfrm>
            <a:off x="4187952" y="1996391"/>
            <a:ext cx="3225746" cy="3727753"/>
          </a:xfrm>
          <a:prstGeom prst="rect">
            <a:avLst/>
          </a:prstGeom>
        </p:spPr>
      </p:pic>
    </p:spTree>
    <p:extLst>
      <p:ext uri="{BB962C8B-B14F-4D97-AF65-F5344CB8AC3E}">
        <p14:creationId xmlns:p14="http://schemas.microsoft.com/office/powerpoint/2010/main" val="19136542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rcRect l="4649" t="14030" r="9264" b="15234"/>
          <a:stretch>
            <a:fillRect/>
          </a:stretch>
        </p:blipFill>
        <p:spPr bwMode="auto">
          <a:xfrm>
            <a:off x="3215976" y="2139949"/>
            <a:ext cx="5760048" cy="2694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43239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rot="20098628" flipH="1">
            <a:off x="633938" y="5593168"/>
            <a:ext cx="114577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mn-cs"/>
              </a:rPr>
              <a:t>FPO</a:t>
            </a:r>
          </a:p>
        </p:txBody>
      </p:sp>
      <p:sp>
        <p:nvSpPr>
          <p:cNvPr id="2" name="Title 1">
            <a:extLst>
              <a:ext uri="{FF2B5EF4-FFF2-40B4-BE49-F238E27FC236}">
                <a16:creationId xmlns:a16="http://schemas.microsoft.com/office/drawing/2014/main" id="{F9C4F363-3647-4938-82DE-BC5C03F0F6B3}"/>
              </a:ext>
            </a:extLst>
          </p:cNvPr>
          <p:cNvSpPr>
            <a:spLocks noGrp="1"/>
          </p:cNvSpPr>
          <p:nvPr>
            <p:ph type="title"/>
          </p:nvPr>
        </p:nvSpPr>
        <p:spPr/>
        <p:txBody>
          <a:bodyPr/>
          <a:lstStyle/>
          <a:p>
            <a:r>
              <a:rPr lang="en-US" dirty="0" smtClean="0"/>
              <a:t>Digital Cookie (DOC)</a:t>
            </a:r>
            <a:endParaRPr lang="en-US" dirty="0"/>
          </a:p>
        </p:txBody>
      </p:sp>
      <p:sp>
        <p:nvSpPr>
          <p:cNvPr id="3" name="Text Placeholder 2">
            <a:extLst>
              <a:ext uri="{FF2B5EF4-FFF2-40B4-BE49-F238E27FC236}">
                <a16:creationId xmlns:a16="http://schemas.microsoft.com/office/drawing/2014/main" id="{8B353AE6-C204-4584-A3A1-DA802D0F2321}"/>
              </a:ext>
            </a:extLst>
          </p:cNvPr>
          <p:cNvSpPr>
            <a:spLocks noGrp="1"/>
          </p:cNvSpPr>
          <p:nvPr>
            <p:ph type="body" idx="1"/>
          </p:nvPr>
        </p:nvSpPr>
        <p:spPr/>
        <p:txBody>
          <a:bodyPr/>
          <a:lstStyle/>
          <a:p>
            <a:r>
              <a:rPr lang="en-US" dirty="0" smtClean="0"/>
              <a:t>Opens for volunteers 2/3</a:t>
            </a:r>
          </a:p>
          <a:p>
            <a:r>
              <a:rPr lang="en-US" dirty="0" smtClean="0"/>
              <a:t>Opens for families 2/9</a:t>
            </a:r>
            <a:endParaRPr lang="en-US" dirty="0"/>
          </a:p>
        </p:txBody>
      </p:sp>
      <p:sp>
        <p:nvSpPr>
          <p:cNvPr id="4" name="TextBox 3"/>
          <p:cNvSpPr txBox="1"/>
          <p:nvPr/>
        </p:nvSpPr>
        <p:spPr>
          <a:xfrm>
            <a:off x="860613" y="1511427"/>
            <a:ext cx="7763434" cy="3416320"/>
          </a:xfrm>
          <a:prstGeom prst="rect">
            <a:avLst/>
          </a:prstGeom>
          <a:noFill/>
        </p:spPr>
        <p:txBody>
          <a:bodyPr wrap="square" rtlCol="0">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Girls can begin selling on 2/1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     →Site open for girl delivery, donation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Shipping option opens 2/27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     →Raspberry Rally—available for shipping only--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solidFill>
                  <a:srgbClr val="7030A0"/>
                </a:solidFill>
                <a:latin typeface="Century Gothic" panose="020B0502020202020204" pitchFamily="34" charset="0"/>
              </a:rPr>
              <a:t> </a:t>
            </a:r>
            <a:r>
              <a:rPr lang="en-US" sz="2400" b="1" dirty="0" smtClean="0">
                <a:solidFill>
                  <a:srgbClr val="7030A0"/>
                </a:solidFill>
                <a:latin typeface="Century Gothic" panose="020B0502020202020204" pitchFamily="34" charset="0"/>
              </a:rPr>
              <a:t>       </a:t>
            </a: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order taking begins 2/27</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    →All varieties available for shipping</a:t>
            </a:r>
            <a:endParaRPr kumimoji="0" lang="en-US" sz="24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9886" y="1018682"/>
            <a:ext cx="6192114" cy="1886213"/>
          </a:xfrm>
          <a:prstGeom prst="rect">
            <a:avLst/>
          </a:prstGeom>
        </p:spPr>
      </p:pic>
      <p:pic>
        <p:nvPicPr>
          <p:cNvPr id="4098" name="Picture 2" descr="RR Box Large"/>
          <p:cNvPicPr>
            <a:picLocks noChangeAspect="1" noChangeArrowheads="1"/>
          </p:cNvPicPr>
          <p:nvPr/>
        </p:nvPicPr>
        <p:blipFill>
          <a:blip r:embed="rId4">
            <a:extLst>
              <a:ext uri="{28A0092B-C50C-407E-A947-70E740481C1C}">
                <a14:useLocalDpi xmlns:a14="http://schemas.microsoft.com/office/drawing/2010/main" val="0"/>
              </a:ext>
            </a:extLst>
          </a:blip>
          <a:srcRect l="5925" t="10522" r="13474" b="4314"/>
          <a:stretch>
            <a:fillRect/>
          </a:stretch>
        </p:blipFill>
        <p:spPr bwMode="auto">
          <a:xfrm rot="308552">
            <a:off x="8420834" y="2691282"/>
            <a:ext cx="1350218" cy="21803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5149422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3">
            <a:extLst>
              <a:ext uri="{28A0092B-C50C-407E-A947-70E740481C1C}">
                <a14:useLocalDpi xmlns:a14="http://schemas.microsoft.com/office/drawing/2010/main" val="0"/>
              </a:ext>
            </a:extLst>
          </a:blip>
          <a:srcRect l="4649" t="14030" r="9264" b="15234"/>
          <a:stretch>
            <a:fillRect/>
          </a:stretch>
        </p:blipFill>
        <p:spPr bwMode="auto">
          <a:xfrm>
            <a:off x="173673" y="227950"/>
            <a:ext cx="2447925"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987552" y="1374124"/>
            <a:ext cx="10387584" cy="3539430"/>
          </a:xfrm>
          <a:prstGeom prst="rect">
            <a:avLst/>
          </a:prstGeom>
        </p:spPr>
        <p:txBody>
          <a:bodyPr wrap="square">
            <a:spAutoFit/>
          </a:bodyPr>
          <a:lstStyle/>
          <a:p>
            <a:pPr marL="34290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rPr>
              <a:t>Digital Cookie should be part of every girl’s cookie </a:t>
            </a:r>
            <a:r>
              <a:rPr lang="en-US" altLang="en-US" sz="2800" b="1" dirty="0" smtClean="0">
                <a:solidFill>
                  <a:srgbClr val="00B050"/>
                </a:solidFill>
                <a:latin typeface="Girl Scout Text Medium" panose="02020003000000000000" pitchFamily="18" charset="0"/>
              </a:rPr>
              <a:t>plan</a:t>
            </a:r>
            <a:endParaRPr lang="en-US" altLang="en-US" sz="2800" b="1" dirty="0">
              <a:solidFill>
                <a:srgbClr val="00B050"/>
              </a:solidFill>
              <a:latin typeface="Girl Scout Text Medium" panose="02020003000000000000" pitchFamily="18" charset="0"/>
            </a:endParaRPr>
          </a:p>
          <a:p>
            <a:pPr marL="342900" indent="-342900">
              <a:buFont typeface="Arial" panose="020B0604020202020204" pitchFamily="34" charset="0"/>
              <a:buChar char="•"/>
              <a:defRPr/>
            </a:pPr>
            <a:r>
              <a:rPr lang="en-US" altLang="en-US" sz="2800" b="1" i="1" dirty="0">
                <a:solidFill>
                  <a:srgbClr val="00B050"/>
                </a:solidFill>
                <a:latin typeface="Girl Scout Text Medium" panose="02020003000000000000" pitchFamily="18" charset="0"/>
              </a:rPr>
              <a:t> </a:t>
            </a:r>
            <a:r>
              <a:rPr lang="en-US" altLang="en-US" sz="2800" b="1" dirty="0">
                <a:solidFill>
                  <a:srgbClr val="00B050"/>
                </a:solidFill>
                <a:latin typeface="Girl Scout Text Medium" panose="02020003000000000000" pitchFamily="18" charset="0"/>
              </a:rPr>
              <a:t>Orders placed in DOC during Initial Order load into girl totals</a:t>
            </a:r>
            <a:r>
              <a:rPr lang="en-US" altLang="en-US" sz="2800" b="1" dirty="0">
                <a:solidFill>
                  <a:srgbClr val="00B050"/>
                </a:solidFill>
                <a:latin typeface="Girl Scout Text Medium" panose="02020003000000000000" pitchFamily="18" charset="0"/>
                <a:sym typeface="Wingdings" panose="05000000000000000000" pitchFamily="2" charset="2"/>
              </a:rPr>
              <a:t> become part of </a:t>
            </a:r>
            <a:r>
              <a:rPr lang="en-US" altLang="en-US" sz="2800" b="1" dirty="0">
                <a:solidFill>
                  <a:srgbClr val="00B050"/>
                </a:solidFill>
                <a:latin typeface="Girl Scout Text Medium" panose="02020003000000000000" pitchFamily="18" charset="0"/>
              </a:rPr>
              <a:t>troop </a:t>
            </a:r>
            <a:r>
              <a:rPr lang="en-US" altLang="en-US" sz="2800" b="1" dirty="0" smtClean="0">
                <a:solidFill>
                  <a:srgbClr val="00B050"/>
                </a:solidFill>
                <a:latin typeface="Girl Scout Text Medium" panose="02020003000000000000" pitchFamily="18" charset="0"/>
              </a:rPr>
              <a:t>order</a:t>
            </a:r>
            <a:endParaRPr lang="en-US" altLang="en-US" sz="2800" b="1" dirty="0">
              <a:solidFill>
                <a:srgbClr val="00B050"/>
              </a:solidFill>
              <a:latin typeface="Girl Scout Text Medium" panose="02020003000000000000" pitchFamily="18" charset="0"/>
            </a:endParaRPr>
          </a:p>
          <a:p>
            <a:pPr marL="34290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rPr>
              <a:t>Girl Delivery option through May </a:t>
            </a:r>
            <a:r>
              <a:rPr lang="en-US" altLang="en-US" sz="2800" b="1" dirty="0" smtClean="0">
                <a:solidFill>
                  <a:srgbClr val="00B050"/>
                </a:solidFill>
                <a:latin typeface="Girl Scout Text Medium" panose="02020003000000000000" pitchFamily="18" charset="0"/>
              </a:rPr>
              <a:t>10; </a:t>
            </a:r>
            <a:r>
              <a:rPr lang="en-US" altLang="en-US" sz="2800" b="1" dirty="0">
                <a:solidFill>
                  <a:srgbClr val="00B050"/>
                </a:solidFill>
                <a:latin typeface="Girl Scout Text Medium" panose="02020003000000000000" pitchFamily="18" charset="0"/>
              </a:rPr>
              <a:t>orders placed after Initial Order must be credited to the girls, added into Girl Orders.  Troops must arrange to fill order at cupboard, from extras, through Cookie </a:t>
            </a:r>
            <a:r>
              <a:rPr lang="en-US" altLang="en-US" sz="2800" b="1" dirty="0" smtClean="0">
                <a:solidFill>
                  <a:srgbClr val="00B050"/>
                </a:solidFill>
                <a:latin typeface="Girl Scout Text Medium" panose="02020003000000000000" pitchFamily="18" charset="0"/>
              </a:rPr>
              <a:t>Exchange</a:t>
            </a:r>
          </a:p>
          <a:p>
            <a:pPr marL="342900" indent="-342900">
              <a:buFont typeface="Arial" panose="020B0604020202020204" pitchFamily="34" charset="0"/>
              <a:buChar char="•"/>
              <a:defRPr/>
            </a:pPr>
            <a:r>
              <a:rPr lang="en-US" altLang="en-US" sz="2800" b="1" dirty="0" smtClean="0">
                <a:solidFill>
                  <a:srgbClr val="00B050"/>
                </a:solidFill>
                <a:latin typeface="Girl Scout Text Medium" panose="02020003000000000000" pitchFamily="18" charset="0"/>
              </a:rPr>
              <a:t>Orders for shipped will open on February 27</a:t>
            </a:r>
            <a:endParaRPr lang="en-US" altLang="en-US" sz="2800" b="1" dirty="0">
              <a:solidFill>
                <a:srgbClr val="00B050"/>
              </a:solidFill>
              <a:latin typeface="Girl Scout Text Medium" panose="02020003000000000000" pitchFamily="18" charset="0"/>
            </a:endParaRPr>
          </a:p>
        </p:txBody>
      </p:sp>
    </p:spTree>
    <p:extLst>
      <p:ext uri="{BB962C8B-B14F-4D97-AF65-F5344CB8AC3E}">
        <p14:creationId xmlns:p14="http://schemas.microsoft.com/office/powerpoint/2010/main" val="170342463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0"/>
            <a:ext cx="8972551" cy="1234440"/>
          </a:xfrm>
        </p:spPr>
        <p:txBody>
          <a:bodyPr/>
          <a:lstStyle/>
          <a:p>
            <a:pPr algn="ctr"/>
            <a:r>
              <a:rPr lang="en-US" sz="5400" dirty="0" smtClean="0"/>
              <a:t>Troop Link </a:t>
            </a:r>
            <a:endParaRPr lang="en-US" sz="5400" dirty="0"/>
          </a:p>
        </p:txBody>
      </p:sp>
      <p:pic>
        <p:nvPicPr>
          <p:cNvPr id="5" name="Picture 4"/>
          <p:cNvPicPr>
            <a:picLocks noChangeAspect="1"/>
          </p:cNvPicPr>
          <p:nvPr/>
        </p:nvPicPr>
        <p:blipFill>
          <a:blip r:embed="rId3"/>
          <a:stretch>
            <a:fillRect/>
          </a:stretch>
        </p:blipFill>
        <p:spPr>
          <a:xfrm>
            <a:off x="587139" y="1737360"/>
            <a:ext cx="10075161" cy="3093841"/>
          </a:xfrm>
          <a:prstGeom prst="rect">
            <a:avLst/>
          </a:prstGeom>
        </p:spPr>
      </p:pic>
    </p:spTree>
    <p:extLst>
      <p:ext uri="{BB962C8B-B14F-4D97-AF65-F5344CB8AC3E}">
        <p14:creationId xmlns:p14="http://schemas.microsoft.com/office/powerpoint/2010/main" val="37017591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DA6284F2-E556-24D4-E6D6-D7308E9F2B37}"/>
              </a:ext>
            </a:extLst>
          </p:cNvPr>
          <p:cNvSpPr/>
          <p:nvPr/>
        </p:nvSpPr>
        <p:spPr>
          <a:xfrm flipH="1">
            <a:off x="-9005" y="4904388"/>
            <a:ext cx="12201004" cy="2587234"/>
          </a:xfrm>
          <a:custGeom>
            <a:avLst/>
            <a:gdLst>
              <a:gd name="connsiteX0" fmla="*/ 9399270 w 9525000"/>
              <a:gd name="connsiteY0" fmla="*/ 997849 h 2420883"/>
              <a:gd name="connsiteX1" fmla="*/ 8742045 w 9525000"/>
              <a:gd name="connsiteY1" fmla="*/ 1019756 h 2420883"/>
              <a:gd name="connsiteX2" fmla="*/ 8227695 w 9525000"/>
              <a:gd name="connsiteY2" fmla="*/ 1411234 h 2420883"/>
              <a:gd name="connsiteX3" fmla="*/ 7399973 w 9525000"/>
              <a:gd name="connsiteY3" fmla="*/ 1328366 h 2420883"/>
              <a:gd name="connsiteX4" fmla="*/ 5816918 w 9525000"/>
              <a:gd name="connsiteY4" fmla="*/ 385391 h 2420883"/>
              <a:gd name="connsiteX5" fmla="*/ 5204460 w 9525000"/>
              <a:gd name="connsiteY5" fmla="*/ 30108 h 2420883"/>
              <a:gd name="connsiteX6" fmla="*/ 4402455 w 9525000"/>
              <a:gd name="connsiteY6" fmla="*/ 256803 h 2420883"/>
              <a:gd name="connsiteX7" fmla="*/ 3826193 w 9525000"/>
              <a:gd name="connsiteY7" fmla="*/ 785441 h 2420883"/>
              <a:gd name="connsiteX8" fmla="*/ 1651635 w 9525000"/>
              <a:gd name="connsiteY8" fmla="*/ 439683 h 2420883"/>
              <a:gd name="connsiteX9" fmla="*/ 0 w 9525000"/>
              <a:gd name="connsiteY9" fmla="*/ 758771 h 2420883"/>
              <a:gd name="connsiteX10" fmla="*/ 0 w 9525000"/>
              <a:gd name="connsiteY10" fmla="*/ 2420884 h 2420883"/>
              <a:gd name="connsiteX11" fmla="*/ 9525000 w 9525000"/>
              <a:gd name="connsiteY11" fmla="*/ 2420884 h 2420883"/>
              <a:gd name="connsiteX12" fmla="*/ 9525000 w 9525000"/>
              <a:gd name="connsiteY12" fmla="*/ 1057856 h 2420883"/>
              <a:gd name="connsiteX13" fmla="*/ 9399270 w 9525000"/>
              <a:gd name="connsiteY13" fmla="*/ 997849 h 242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00" h="2420883">
                <a:moveTo>
                  <a:pt x="9399270" y="997849"/>
                </a:moveTo>
                <a:cubicBezTo>
                  <a:pt x="9178290" y="907361"/>
                  <a:pt x="8953500" y="904504"/>
                  <a:pt x="8742045" y="1019756"/>
                </a:cubicBezTo>
                <a:cubicBezTo>
                  <a:pt x="8549640" y="1124531"/>
                  <a:pt x="8438198" y="1333129"/>
                  <a:pt x="8227695" y="1411234"/>
                </a:cubicBezTo>
                <a:cubicBezTo>
                  <a:pt x="7961948" y="1510294"/>
                  <a:pt x="7653338" y="1425521"/>
                  <a:pt x="7399973" y="1328366"/>
                </a:cubicBezTo>
                <a:cubicBezTo>
                  <a:pt x="6824663" y="1107386"/>
                  <a:pt x="6312218" y="752104"/>
                  <a:pt x="5816918" y="385391"/>
                </a:cubicBezTo>
                <a:cubicBezTo>
                  <a:pt x="5626418" y="244421"/>
                  <a:pt x="5431155" y="97736"/>
                  <a:pt x="5204460" y="30108"/>
                </a:cubicBezTo>
                <a:cubicBezTo>
                  <a:pt x="4907280" y="-58474"/>
                  <a:pt x="4626293" y="57731"/>
                  <a:pt x="4402455" y="256803"/>
                </a:cubicBezTo>
                <a:cubicBezTo>
                  <a:pt x="4207193" y="430158"/>
                  <a:pt x="4047173" y="645424"/>
                  <a:pt x="3826193" y="785441"/>
                </a:cubicBezTo>
                <a:cubicBezTo>
                  <a:pt x="3177540" y="1195016"/>
                  <a:pt x="2263140" y="724481"/>
                  <a:pt x="1651635" y="439683"/>
                </a:cubicBezTo>
                <a:cubicBezTo>
                  <a:pt x="1083945" y="175841"/>
                  <a:pt x="694373" y="665426"/>
                  <a:pt x="0" y="758771"/>
                </a:cubicBezTo>
                <a:lnTo>
                  <a:pt x="0" y="2420884"/>
                </a:lnTo>
                <a:cubicBezTo>
                  <a:pt x="3810" y="2420884"/>
                  <a:pt x="9525000" y="2420884"/>
                  <a:pt x="9525000" y="2420884"/>
                </a:cubicBezTo>
                <a:lnTo>
                  <a:pt x="9525000" y="1057856"/>
                </a:lnTo>
                <a:cubicBezTo>
                  <a:pt x="9484043" y="1035949"/>
                  <a:pt x="9442132" y="1014993"/>
                  <a:pt x="9399270" y="997849"/>
                </a:cubicBezTo>
                <a:close/>
              </a:path>
            </a:pathLst>
          </a:custGeom>
          <a:solidFill>
            <a:srgbClr val="00ADD9"/>
          </a:solidFill>
          <a:ln w="9525" cap="flat">
            <a:noFill/>
            <a:prstDash val="solid"/>
            <a:miter/>
          </a:ln>
        </p:spPr>
        <p:txBody>
          <a:bodyPr rtlCol="0" anchor="ctr"/>
          <a:lstStyle/>
          <a:p>
            <a:endParaRPr lang="en-IN"/>
          </a:p>
        </p:txBody>
      </p:sp>
      <p:sp>
        <p:nvSpPr>
          <p:cNvPr id="14" name="Freeform: Shape 13">
            <a:extLst>
              <a:ext uri="{FF2B5EF4-FFF2-40B4-BE49-F238E27FC236}">
                <a16:creationId xmlns:a16="http://schemas.microsoft.com/office/drawing/2014/main" id="{3B7F2EBB-0920-CE5B-5ACF-02D0428AD25F}"/>
              </a:ext>
            </a:extLst>
          </p:cNvPr>
          <p:cNvSpPr/>
          <p:nvPr/>
        </p:nvSpPr>
        <p:spPr>
          <a:xfrm flipH="1">
            <a:off x="-9005" y="5106205"/>
            <a:ext cx="12201004" cy="2386525"/>
          </a:xfrm>
          <a:custGeom>
            <a:avLst/>
            <a:gdLst>
              <a:gd name="connsiteX0" fmla="*/ 9086850 w 9525000"/>
              <a:gd name="connsiteY0" fmla="*/ 141661 h 2051423"/>
              <a:gd name="connsiteX1" fmla="*/ 6804660 w 9525000"/>
              <a:gd name="connsiteY1" fmla="*/ 518851 h 2051423"/>
              <a:gd name="connsiteX2" fmla="*/ 6338888 w 9525000"/>
              <a:gd name="connsiteY2" fmla="*/ 329304 h 2051423"/>
              <a:gd name="connsiteX3" fmla="*/ 6035040 w 9525000"/>
              <a:gd name="connsiteY3" fmla="*/ 119754 h 2051423"/>
              <a:gd name="connsiteX4" fmla="*/ 5397818 w 9525000"/>
              <a:gd name="connsiteY4" fmla="*/ 136899 h 2051423"/>
              <a:gd name="connsiteX5" fmla="*/ 4600575 w 9525000"/>
              <a:gd name="connsiteY5" fmla="*/ 493134 h 2051423"/>
              <a:gd name="connsiteX6" fmla="*/ 3749040 w 9525000"/>
              <a:gd name="connsiteY6" fmla="*/ 609339 h 2051423"/>
              <a:gd name="connsiteX7" fmla="*/ 2703195 w 9525000"/>
              <a:gd name="connsiteY7" fmla="*/ 40696 h 2051423"/>
              <a:gd name="connsiteX8" fmla="*/ 781050 w 9525000"/>
              <a:gd name="connsiteY8" fmla="*/ 544569 h 2051423"/>
              <a:gd name="connsiteX9" fmla="*/ 0 w 9525000"/>
              <a:gd name="connsiteY9" fmla="*/ 315016 h 2051423"/>
              <a:gd name="connsiteX10" fmla="*/ 0 w 9525000"/>
              <a:gd name="connsiteY10" fmla="*/ 2051424 h 2051423"/>
              <a:gd name="connsiteX11" fmla="*/ 9525000 w 9525000"/>
              <a:gd name="connsiteY11" fmla="*/ 2051424 h 2051423"/>
              <a:gd name="connsiteX12" fmla="*/ 9525000 w 9525000"/>
              <a:gd name="connsiteY12" fmla="*/ 300729 h 2051423"/>
              <a:gd name="connsiteX13" fmla="*/ 9086850 w 9525000"/>
              <a:gd name="connsiteY13" fmla="*/ 141661 h 205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5000" h="2051423">
                <a:moveTo>
                  <a:pt x="9086850" y="141661"/>
                </a:moveTo>
                <a:cubicBezTo>
                  <a:pt x="8323898" y="-26931"/>
                  <a:pt x="7575233" y="646486"/>
                  <a:pt x="6804660" y="518851"/>
                </a:cubicBezTo>
                <a:cubicBezTo>
                  <a:pt x="6637973" y="491229"/>
                  <a:pt x="6477000" y="425506"/>
                  <a:pt x="6338888" y="329304"/>
                </a:cubicBezTo>
                <a:cubicBezTo>
                  <a:pt x="6237923" y="258819"/>
                  <a:pt x="6147435" y="170236"/>
                  <a:pt x="6035040" y="119754"/>
                </a:cubicBezTo>
                <a:cubicBezTo>
                  <a:pt x="5836920" y="29266"/>
                  <a:pt x="5603558" y="66414"/>
                  <a:pt x="5397818" y="136899"/>
                </a:cubicBezTo>
                <a:cubicBezTo>
                  <a:pt x="5122545" y="231196"/>
                  <a:pt x="4869180" y="381691"/>
                  <a:pt x="4600575" y="493134"/>
                </a:cubicBezTo>
                <a:cubicBezTo>
                  <a:pt x="4331970" y="604576"/>
                  <a:pt x="4031933" y="677919"/>
                  <a:pt x="3749040" y="609339"/>
                </a:cubicBezTo>
                <a:cubicBezTo>
                  <a:pt x="3361373" y="515041"/>
                  <a:pt x="3077528" y="175951"/>
                  <a:pt x="2703195" y="40696"/>
                </a:cubicBezTo>
                <a:cubicBezTo>
                  <a:pt x="2092643" y="-179331"/>
                  <a:pt x="1429703" y="565524"/>
                  <a:pt x="781050" y="544569"/>
                </a:cubicBezTo>
                <a:cubicBezTo>
                  <a:pt x="506730" y="535996"/>
                  <a:pt x="235268" y="455034"/>
                  <a:pt x="0" y="315016"/>
                </a:cubicBezTo>
                <a:lnTo>
                  <a:pt x="0" y="2051424"/>
                </a:lnTo>
                <a:lnTo>
                  <a:pt x="9525000" y="2051424"/>
                </a:lnTo>
                <a:lnTo>
                  <a:pt x="9525000" y="300729"/>
                </a:lnTo>
                <a:cubicBezTo>
                  <a:pt x="9381173" y="238816"/>
                  <a:pt x="9235440" y="174999"/>
                  <a:pt x="9086850" y="141661"/>
                </a:cubicBezTo>
                <a:close/>
              </a:path>
            </a:pathLst>
          </a:custGeom>
          <a:solidFill>
            <a:srgbClr val="39C0E0"/>
          </a:solidFill>
          <a:ln w="9525" cap="flat">
            <a:noFill/>
            <a:prstDash val="solid"/>
            <a:miter/>
          </a:ln>
        </p:spPr>
        <p:txBody>
          <a:bodyPr rtlCol="0" anchor="ctr"/>
          <a:lstStyle/>
          <a:p>
            <a:endParaRPr lang="en-IN"/>
          </a:p>
        </p:txBody>
      </p:sp>
      <p:sp>
        <p:nvSpPr>
          <p:cNvPr id="15" name="Freeform: Shape 14">
            <a:extLst>
              <a:ext uri="{FF2B5EF4-FFF2-40B4-BE49-F238E27FC236}">
                <a16:creationId xmlns:a16="http://schemas.microsoft.com/office/drawing/2014/main" id="{F706174C-E6BA-2B40-541B-1822F350E01B}"/>
              </a:ext>
            </a:extLst>
          </p:cNvPr>
          <p:cNvSpPr/>
          <p:nvPr/>
        </p:nvSpPr>
        <p:spPr>
          <a:xfrm flipH="1">
            <a:off x="-9005" y="5908563"/>
            <a:ext cx="12201004" cy="1584168"/>
          </a:xfrm>
          <a:custGeom>
            <a:avLst/>
            <a:gdLst>
              <a:gd name="connsiteX0" fmla="*/ 7022783 w 9525000"/>
              <a:gd name="connsiteY0" fmla="*/ 750223 h 1361728"/>
              <a:gd name="connsiteX1" fmla="*/ 5748338 w 9525000"/>
              <a:gd name="connsiteY1" fmla="*/ 132051 h 1361728"/>
              <a:gd name="connsiteX2" fmla="*/ 4868228 w 9525000"/>
              <a:gd name="connsiteY2" fmla="*/ 527338 h 1361728"/>
              <a:gd name="connsiteX3" fmla="*/ 3347085 w 9525000"/>
              <a:gd name="connsiteY3" fmla="*/ 534006 h 1361728"/>
              <a:gd name="connsiteX4" fmla="*/ 2374583 w 9525000"/>
              <a:gd name="connsiteY4" fmla="*/ 25371 h 1361728"/>
              <a:gd name="connsiteX5" fmla="*/ 1261110 w 9525000"/>
              <a:gd name="connsiteY5" fmla="*/ 262543 h 1361728"/>
              <a:gd name="connsiteX6" fmla="*/ 224790 w 9525000"/>
              <a:gd name="connsiteY6" fmla="*/ 786418 h 1361728"/>
              <a:gd name="connsiteX7" fmla="*/ 0 w 9525000"/>
              <a:gd name="connsiteY7" fmla="*/ 838806 h 1361728"/>
              <a:gd name="connsiteX8" fmla="*/ 0 w 9525000"/>
              <a:gd name="connsiteY8" fmla="*/ 1361728 h 1361728"/>
              <a:gd name="connsiteX9" fmla="*/ 9525000 w 9525000"/>
              <a:gd name="connsiteY9" fmla="*/ 1361728 h 1361728"/>
              <a:gd name="connsiteX10" fmla="*/ 9525000 w 9525000"/>
              <a:gd name="connsiteY10" fmla="*/ 937866 h 1361728"/>
              <a:gd name="connsiteX11" fmla="*/ 7022783 w 9525000"/>
              <a:gd name="connsiteY11" fmla="*/ 750223 h 136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000" h="1361728">
                <a:moveTo>
                  <a:pt x="7022783" y="750223"/>
                </a:moveTo>
                <a:cubicBezTo>
                  <a:pt x="6592253" y="537816"/>
                  <a:pt x="6227445" y="103476"/>
                  <a:pt x="5748338" y="132051"/>
                </a:cubicBezTo>
                <a:cubicBezTo>
                  <a:pt x="5424488" y="151101"/>
                  <a:pt x="5158740" y="382558"/>
                  <a:pt x="4868228" y="527338"/>
                </a:cubicBezTo>
                <a:cubicBezTo>
                  <a:pt x="4397693" y="761653"/>
                  <a:pt x="3819525" y="763558"/>
                  <a:pt x="3347085" y="534006"/>
                </a:cubicBezTo>
                <a:cubicBezTo>
                  <a:pt x="3016568" y="373033"/>
                  <a:pt x="2733675" y="105381"/>
                  <a:pt x="2374583" y="25371"/>
                </a:cubicBezTo>
                <a:cubicBezTo>
                  <a:pt x="1996440" y="-59402"/>
                  <a:pt x="1603058" y="80616"/>
                  <a:pt x="1261110" y="262543"/>
                </a:cubicBezTo>
                <a:cubicBezTo>
                  <a:pt x="919163" y="444471"/>
                  <a:pt x="596265" y="673071"/>
                  <a:pt x="224790" y="786418"/>
                </a:cubicBezTo>
                <a:cubicBezTo>
                  <a:pt x="151448" y="808326"/>
                  <a:pt x="76200" y="825471"/>
                  <a:pt x="0" y="838806"/>
                </a:cubicBezTo>
                <a:lnTo>
                  <a:pt x="0" y="1361728"/>
                </a:lnTo>
                <a:lnTo>
                  <a:pt x="9525000" y="1361728"/>
                </a:lnTo>
                <a:lnTo>
                  <a:pt x="9525000" y="937866"/>
                </a:lnTo>
                <a:cubicBezTo>
                  <a:pt x="8931593" y="1100743"/>
                  <a:pt x="7910513" y="1188373"/>
                  <a:pt x="7022783" y="750223"/>
                </a:cubicBezTo>
                <a:close/>
              </a:path>
            </a:pathLst>
          </a:custGeom>
          <a:solidFill>
            <a:srgbClr val="86D1E6"/>
          </a:solidFill>
          <a:ln w="9525" cap="flat">
            <a:noFill/>
            <a:prstDash val="solid"/>
            <a:miter/>
          </a:ln>
        </p:spPr>
        <p:txBody>
          <a:bodyPr rtlCol="0" anchor="ctr"/>
          <a:lstStyle/>
          <a:p>
            <a:endParaRPr lang="en-IN"/>
          </a:p>
        </p:txBody>
      </p:sp>
      <p:pic>
        <p:nvPicPr>
          <p:cNvPr id="35" name="Picture 34" descr="A picture containing drawing&#10;&#10;Description automatically generated">
            <a:extLst>
              <a:ext uri="{FF2B5EF4-FFF2-40B4-BE49-F238E27FC236}">
                <a16:creationId xmlns:a16="http://schemas.microsoft.com/office/drawing/2014/main" id="{DDC9DD98-EA48-9A3E-774C-E370017E195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sp>
        <p:nvSpPr>
          <p:cNvPr id="16" name="Freeform: Shape 15">
            <a:extLst>
              <a:ext uri="{FF2B5EF4-FFF2-40B4-BE49-F238E27FC236}">
                <a16:creationId xmlns:a16="http://schemas.microsoft.com/office/drawing/2014/main" id="{FCE52046-D913-DE6C-9786-748C52CD322D}"/>
              </a:ext>
            </a:extLst>
          </p:cNvPr>
          <p:cNvSpPr/>
          <p:nvPr/>
        </p:nvSpPr>
        <p:spPr>
          <a:xfrm flipH="1">
            <a:off x="-9004" y="6037631"/>
            <a:ext cx="12201003" cy="1455100"/>
          </a:xfrm>
          <a:custGeom>
            <a:avLst/>
            <a:gdLst>
              <a:gd name="connsiteX0" fmla="*/ 7892415 w 9524999"/>
              <a:gd name="connsiteY0" fmla="*/ 395438 h 1250783"/>
              <a:gd name="connsiteX1" fmla="*/ 6276023 w 9524999"/>
              <a:gd name="connsiteY1" fmla="*/ 791678 h 1250783"/>
              <a:gd name="connsiteX2" fmla="*/ 4645343 w 9524999"/>
              <a:gd name="connsiteY2" fmla="*/ 746911 h 1250783"/>
              <a:gd name="connsiteX3" fmla="*/ 3953828 w 9524999"/>
              <a:gd name="connsiteY3" fmla="*/ 375435 h 1250783"/>
              <a:gd name="connsiteX4" fmla="*/ 2120265 w 9524999"/>
              <a:gd name="connsiteY4" fmla="*/ 544981 h 1250783"/>
              <a:gd name="connsiteX5" fmla="*/ 797243 w 9524999"/>
              <a:gd name="connsiteY5" fmla="*/ 1103 h 1250783"/>
              <a:gd name="connsiteX6" fmla="*/ 180975 w 9524999"/>
              <a:gd name="connsiteY6" fmla="*/ 248753 h 1250783"/>
              <a:gd name="connsiteX7" fmla="*/ 0 w 9524999"/>
              <a:gd name="connsiteY7" fmla="*/ 358291 h 1250783"/>
              <a:gd name="connsiteX8" fmla="*/ 0 w 9524999"/>
              <a:gd name="connsiteY8" fmla="*/ 1250783 h 1250783"/>
              <a:gd name="connsiteX9" fmla="*/ 9525000 w 9524999"/>
              <a:gd name="connsiteY9" fmla="*/ 1250783 h 1250783"/>
              <a:gd name="connsiteX10" fmla="*/ 9525000 w 9524999"/>
              <a:gd name="connsiteY10" fmla="*/ 631658 h 1250783"/>
              <a:gd name="connsiteX11" fmla="*/ 7892415 w 9524999"/>
              <a:gd name="connsiteY11" fmla="*/ 395438 h 125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4999" h="1250783">
                <a:moveTo>
                  <a:pt x="7892415" y="395438"/>
                </a:moveTo>
                <a:cubicBezTo>
                  <a:pt x="7338060" y="438301"/>
                  <a:pt x="6813233" y="651661"/>
                  <a:pt x="6276023" y="791678"/>
                </a:cubicBezTo>
                <a:cubicBezTo>
                  <a:pt x="5737860" y="931696"/>
                  <a:pt x="5143500" y="993608"/>
                  <a:pt x="4645343" y="746911"/>
                </a:cubicBezTo>
                <a:cubicBezTo>
                  <a:pt x="4410075" y="630706"/>
                  <a:pt x="4205288" y="448778"/>
                  <a:pt x="3953828" y="375435"/>
                </a:cubicBezTo>
                <a:cubicBezTo>
                  <a:pt x="3357563" y="201128"/>
                  <a:pt x="2726055" y="681188"/>
                  <a:pt x="2120265" y="544981"/>
                </a:cubicBezTo>
                <a:cubicBezTo>
                  <a:pt x="1649730" y="439253"/>
                  <a:pt x="1279208" y="-25567"/>
                  <a:pt x="797243" y="1103"/>
                </a:cubicBezTo>
                <a:cubicBezTo>
                  <a:pt x="574358" y="13486"/>
                  <a:pt x="372428" y="132548"/>
                  <a:pt x="180975" y="248753"/>
                </a:cubicBezTo>
                <a:cubicBezTo>
                  <a:pt x="120968" y="284948"/>
                  <a:pt x="60008" y="322096"/>
                  <a:pt x="0" y="358291"/>
                </a:cubicBezTo>
                <a:lnTo>
                  <a:pt x="0" y="1250783"/>
                </a:lnTo>
                <a:lnTo>
                  <a:pt x="9525000" y="1250783"/>
                </a:lnTo>
                <a:lnTo>
                  <a:pt x="9525000" y="631658"/>
                </a:lnTo>
                <a:cubicBezTo>
                  <a:pt x="8989695" y="481163"/>
                  <a:pt x="8443912" y="352576"/>
                  <a:pt x="7892415" y="395438"/>
                </a:cubicBezTo>
                <a:close/>
              </a:path>
            </a:pathLst>
          </a:custGeom>
          <a:solidFill>
            <a:srgbClr val="A0D9E6"/>
          </a:solidFill>
          <a:ln w="9525" cap="flat">
            <a:noFill/>
            <a:prstDash val="solid"/>
            <a:miter/>
          </a:ln>
        </p:spPr>
        <p:txBody>
          <a:bodyPr rtlCol="0" anchor="ctr"/>
          <a:lstStyle/>
          <a:p>
            <a:endParaRPr lang="en-IN"/>
          </a:p>
        </p:txBody>
      </p:sp>
      <p:grpSp>
        <p:nvGrpSpPr>
          <p:cNvPr id="17" name="Group 16">
            <a:extLst>
              <a:ext uri="{FF2B5EF4-FFF2-40B4-BE49-F238E27FC236}">
                <a16:creationId xmlns:a16="http://schemas.microsoft.com/office/drawing/2014/main" id="{692A77E7-86B5-8E0C-3847-DE87F92F190D}"/>
              </a:ext>
            </a:extLst>
          </p:cNvPr>
          <p:cNvGrpSpPr/>
          <p:nvPr/>
        </p:nvGrpSpPr>
        <p:grpSpPr>
          <a:xfrm rot="21249785">
            <a:off x="6651723" y="6010292"/>
            <a:ext cx="844971" cy="744803"/>
            <a:chOff x="4734523" y="1017744"/>
            <a:chExt cx="1247177" cy="1099327"/>
          </a:xfrm>
          <a:solidFill>
            <a:schemeClr val="bg1"/>
          </a:solidFill>
        </p:grpSpPr>
        <p:sp>
          <p:nvSpPr>
            <p:cNvPr id="18" name="Plaque 17">
              <a:extLst>
                <a:ext uri="{FF2B5EF4-FFF2-40B4-BE49-F238E27FC236}">
                  <a16:creationId xmlns:a16="http://schemas.microsoft.com/office/drawing/2014/main" id="{3EC731E7-CA18-4B0A-8D92-508C8CB8DAEF}"/>
                </a:ext>
              </a:extLst>
            </p:cNvPr>
            <p:cNvSpPr/>
            <p:nvPr/>
          </p:nvSpPr>
          <p:spPr>
            <a:xfrm>
              <a:off x="5072095" y="1641583"/>
              <a:ext cx="482814" cy="475488"/>
            </a:xfrm>
            <a:prstGeom prst="plaque">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Plaque 21">
              <a:extLst>
                <a:ext uri="{FF2B5EF4-FFF2-40B4-BE49-F238E27FC236}">
                  <a16:creationId xmlns:a16="http://schemas.microsoft.com/office/drawing/2014/main" id="{5487A9FD-DB78-F3BB-A88F-1D1D7DE0D296}"/>
                </a:ext>
              </a:extLst>
            </p:cNvPr>
            <p:cNvSpPr/>
            <p:nvPr/>
          </p:nvSpPr>
          <p:spPr>
            <a:xfrm>
              <a:off x="4734523" y="1017744"/>
              <a:ext cx="605948" cy="596754"/>
            </a:xfrm>
            <a:prstGeom prst="plaque">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Plaque 22">
              <a:extLst>
                <a:ext uri="{FF2B5EF4-FFF2-40B4-BE49-F238E27FC236}">
                  <a16:creationId xmlns:a16="http://schemas.microsoft.com/office/drawing/2014/main" id="{2BEBAFB1-4966-F9F6-340A-1161F9280CB2}"/>
                </a:ext>
              </a:extLst>
            </p:cNvPr>
            <p:cNvSpPr/>
            <p:nvPr/>
          </p:nvSpPr>
          <p:spPr>
            <a:xfrm>
              <a:off x="5606678" y="1131455"/>
              <a:ext cx="375022" cy="369332"/>
            </a:xfrm>
            <a:prstGeom prst="plaque">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193C136E-CAE9-7082-0E92-653CD1DBA4A7}"/>
              </a:ext>
            </a:extLst>
          </p:cNvPr>
          <p:cNvGrpSpPr/>
          <p:nvPr/>
        </p:nvGrpSpPr>
        <p:grpSpPr>
          <a:xfrm rot="1645776">
            <a:off x="10669854" y="5732319"/>
            <a:ext cx="651910" cy="574628"/>
            <a:chOff x="4734523" y="1017744"/>
            <a:chExt cx="1247177" cy="1099327"/>
          </a:xfrm>
        </p:grpSpPr>
        <p:sp>
          <p:nvSpPr>
            <p:cNvPr id="25" name="Plaque 24">
              <a:extLst>
                <a:ext uri="{FF2B5EF4-FFF2-40B4-BE49-F238E27FC236}">
                  <a16:creationId xmlns:a16="http://schemas.microsoft.com/office/drawing/2014/main" id="{F3FD96C2-A8F5-724E-F26C-16BBB59E84E2}"/>
                </a:ext>
              </a:extLst>
            </p:cNvPr>
            <p:cNvSpPr/>
            <p:nvPr/>
          </p:nvSpPr>
          <p:spPr>
            <a:xfrm>
              <a:off x="5072095" y="1641583"/>
              <a:ext cx="482814" cy="475488"/>
            </a:xfrm>
            <a:prstGeom prst="plaqu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laque 25">
              <a:extLst>
                <a:ext uri="{FF2B5EF4-FFF2-40B4-BE49-F238E27FC236}">
                  <a16:creationId xmlns:a16="http://schemas.microsoft.com/office/drawing/2014/main" id="{049AC5BB-1AF0-51FF-30E3-C2E4DE413118}"/>
                </a:ext>
              </a:extLst>
            </p:cNvPr>
            <p:cNvSpPr/>
            <p:nvPr/>
          </p:nvSpPr>
          <p:spPr>
            <a:xfrm>
              <a:off x="4734523" y="1017744"/>
              <a:ext cx="605948" cy="596754"/>
            </a:xfrm>
            <a:prstGeom prst="plaqu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laque 26">
              <a:extLst>
                <a:ext uri="{FF2B5EF4-FFF2-40B4-BE49-F238E27FC236}">
                  <a16:creationId xmlns:a16="http://schemas.microsoft.com/office/drawing/2014/main" id="{1C5937C2-FB3F-DCF1-B4FD-8E4A3BE99018}"/>
                </a:ext>
              </a:extLst>
            </p:cNvPr>
            <p:cNvSpPr/>
            <p:nvPr/>
          </p:nvSpPr>
          <p:spPr>
            <a:xfrm>
              <a:off x="5606678" y="1131455"/>
              <a:ext cx="375022" cy="369332"/>
            </a:xfrm>
            <a:prstGeom prst="plaque">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Slide Number Placeholder 4">
            <a:extLst>
              <a:ext uri="{FF2B5EF4-FFF2-40B4-BE49-F238E27FC236}">
                <a16:creationId xmlns:a16="http://schemas.microsoft.com/office/drawing/2014/main" id="{61682C89-16D0-D5B2-2C50-37A63726C35B}"/>
              </a:ext>
            </a:extLst>
          </p:cNvPr>
          <p:cNvSpPr txBox="1">
            <a:spLocks/>
          </p:cNvSpPr>
          <p:nvPr/>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defRPr/>
            </a:pPr>
            <a:fld id="{8C1CC9D4-B77B-4D62-AC93-E2BD36A15066}" type="slidenum">
              <a:rPr lang="en-IN" sz="1000" smtClean="0">
                <a:solidFill>
                  <a:schemeClr val="bg1"/>
                </a:solidFill>
                <a:latin typeface="Century Gothic" panose="020B0502020202020204" pitchFamily="34" charset="0"/>
                <a:ea typeface="Tahoma" panose="020B0604030504040204" pitchFamily="34" charset="0"/>
                <a:cs typeface="Tahoma" panose="020B0604030504040204" pitchFamily="34" charset="0"/>
              </a:rPr>
              <a:pPr defTabSz="914400">
                <a:defRPr/>
              </a:pPr>
              <a:t>2</a:t>
            </a:fld>
            <a:endParaRPr lang="en-IN" sz="1100">
              <a:solidFill>
                <a:schemeClr val="bg1"/>
              </a:solidFill>
              <a:latin typeface="Century Gothic" panose="020B0502020202020204" pitchFamily="34" charset="0"/>
              <a:ea typeface="Tahoma" panose="020B0604030504040204" pitchFamily="34" charset="0"/>
              <a:cs typeface="Tahoma" panose="020B0604030504040204" pitchFamily="34" charset="0"/>
            </a:endParaRPr>
          </a:p>
        </p:txBody>
      </p:sp>
      <p:sp>
        <p:nvSpPr>
          <p:cNvPr id="29" name="TextBox 28">
            <a:extLst>
              <a:ext uri="{FF2B5EF4-FFF2-40B4-BE49-F238E27FC236}">
                <a16:creationId xmlns:a16="http://schemas.microsoft.com/office/drawing/2014/main" id="{8CF18C42-40C4-4A05-8262-99B697ED5492}"/>
              </a:ext>
            </a:extLst>
          </p:cNvPr>
          <p:cNvSpPr txBox="1"/>
          <p:nvPr/>
        </p:nvSpPr>
        <p:spPr bwMode="auto">
          <a:xfrm>
            <a:off x="693353" y="6529439"/>
            <a:ext cx="5727700" cy="235898"/>
          </a:xfrm>
          <a:prstGeom prst="rect">
            <a:avLst/>
          </a:prstGeom>
          <a:noFill/>
        </p:spPr>
        <p:txBody>
          <a:bodyPr lIns="0" r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181C6"/>
                </a:solidFill>
                <a:effectLst/>
                <a:uLnTx/>
                <a:uFillTx/>
                <a:latin typeface="Arial"/>
                <a:ea typeface="+mn-ea"/>
                <a:cs typeface="Arial"/>
              </a:rPr>
              <a:t>CONFIDENTIAL &amp; PROPRIETARY </a:t>
            </a:r>
          </a:p>
        </p:txBody>
      </p:sp>
      <p:sp>
        <p:nvSpPr>
          <p:cNvPr id="36" name="Plaque 35">
            <a:extLst>
              <a:ext uri="{FF2B5EF4-FFF2-40B4-BE49-F238E27FC236}">
                <a16:creationId xmlns:a16="http://schemas.microsoft.com/office/drawing/2014/main" id="{D6209687-F7EE-411B-AF53-4C9E532BA6A7}"/>
              </a:ext>
            </a:extLst>
          </p:cNvPr>
          <p:cNvSpPr/>
          <p:nvPr/>
        </p:nvSpPr>
        <p:spPr>
          <a:xfrm>
            <a:off x="1221214" y="4427046"/>
            <a:ext cx="314360" cy="309590"/>
          </a:xfrm>
          <a:prstGeom prst="plaqu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Plaque 37">
            <a:extLst>
              <a:ext uri="{FF2B5EF4-FFF2-40B4-BE49-F238E27FC236}">
                <a16:creationId xmlns:a16="http://schemas.microsoft.com/office/drawing/2014/main" id="{CE98C5C5-BD2E-4B17-A842-2A7CA79C4FAA}"/>
              </a:ext>
            </a:extLst>
          </p:cNvPr>
          <p:cNvSpPr/>
          <p:nvPr/>
        </p:nvSpPr>
        <p:spPr>
          <a:xfrm>
            <a:off x="11248029" y="3353361"/>
            <a:ext cx="605948" cy="596754"/>
          </a:xfrm>
          <a:prstGeom prst="plaqu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Plaque 38">
            <a:extLst>
              <a:ext uri="{FF2B5EF4-FFF2-40B4-BE49-F238E27FC236}">
                <a16:creationId xmlns:a16="http://schemas.microsoft.com/office/drawing/2014/main" id="{59ADA696-5D83-441C-B178-0AE05459FF7A}"/>
              </a:ext>
            </a:extLst>
          </p:cNvPr>
          <p:cNvSpPr/>
          <p:nvPr/>
        </p:nvSpPr>
        <p:spPr>
          <a:xfrm>
            <a:off x="9783544" y="399263"/>
            <a:ext cx="482814" cy="475488"/>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Plaque 39">
            <a:extLst>
              <a:ext uri="{FF2B5EF4-FFF2-40B4-BE49-F238E27FC236}">
                <a16:creationId xmlns:a16="http://schemas.microsoft.com/office/drawing/2014/main" id="{264B4EAF-EFC9-4F84-9B98-2264C5CB8947}"/>
              </a:ext>
            </a:extLst>
          </p:cNvPr>
          <p:cNvSpPr/>
          <p:nvPr/>
        </p:nvSpPr>
        <p:spPr>
          <a:xfrm>
            <a:off x="2721682" y="1957096"/>
            <a:ext cx="326872" cy="321912"/>
          </a:xfrm>
          <a:prstGeom prst="plaque">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Plaque 40">
            <a:extLst>
              <a:ext uri="{FF2B5EF4-FFF2-40B4-BE49-F238E27FC236}">
                <a16:creationId xmlns:a16="http://schemas.microsoft.com/office/drawing/2014/main" id="{EA34B3A3-C99E-4789-A446-C28566A92DC7}"/>
              </a:ext>
            </a:extLst>
          </p:cNvPr>
          <p:cNvSpPr/>
          <p:nvPr/>
        </p:nvSpPr>
        <p:spPr>
          <a:xfrm>
            <a:off x="10266358" y="2279008"/>
            <a:ext cx="384702" cy="378865"/>
          </a:xfrm>
          <a:prstGeom prst="plaqu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Plaque 41">
            <a:extLst>
              <a:ext uri="{FF2B5EF4-FFF2-40B4-BE49-F238E27FC236}">
                <a16:creationId xmlns:a16="http://schemas.microsoft.com/office/drawing/2014/main" id="{8683A566-4121-4845-B120-9E1AE9675466}"/>
              </a:ext>
            </a:extLst>
          </p:cNvPr>
          <p:cNvSpPr/>
          <p:nvPr/>
        </p:nvSpPr>
        <p:spPr>
          <a:xfrm>
            <a:off x="10260268" y="748054"/>
            <a:ext cx="396881" cy="390859"/>
          </a:xfrm>
          <a:prstGeom prst="plaque">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Plaque 42">
            <a:extLst>
              <a:ext uri="{FF2B5EF4-FFF2-40B4-BE49-F238E27FC236}">
                <a16:creationId xmlns:a16="http://schemas.microsoft.com/office/drawing/2014/main" id="{A5BD1DC4-907D-4A7B-AA38-F86D4E721610}"/>
              </a:ext>
            </a:extLst>
          </p:cNvPr>
          <p:cNvSpPr/>
          <p:nvPr/>
        </p:nvSpPr>
        <p:spPr>
          <a:xfrm>
            <a:off x="376678" y="2797822"/>
            <a:ext cx="482814" cy="475488"/>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Plaque 43">
            <a:extLst>
              <a:ext uri="{FF2B5EF4-FFF2-40B4-BE49-F238E27FC236}">
                <a16:creationId xmlns:a16="http://schemas.microsoft.com/office/drawing/2014/main" id="{5452D777-1184-4E56-BF39-F4A49AD4654D}"/>
              </a:ext>
            </a:extLst>
          </p:cNvPr>
          <p:cNvSpPr/>
          <p:nvPr/>
        </p:nvSpPr>
        <p:spPr>
          <a:xfrm>
            <a:off x="10921157" y="3880549"/>
            <a:ext cx="326872" cy="321912"/>
          </a:xfrm>
          <a:prstGeom prst="plaque">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5" name="Plaque 44">
            <a:extLst>
              <a:ext uri="{FF2B5EF4-FFF2-40B4-BE49-F238E27FC236}">
                <a16:creationId xmlns:a16="http://schemas.microsoft.com/office/drawing/2014/main" id="{1B10B612-F581-4B62-BD28-4D6DDA7A26C1}"/>
              </a:ext>
            </a:extLst>
          </p:cNvPr>
          <p:cNvSpPr/>
          <p:nvPr/>
        </p:nvSpPr>
        <p:spPr>
          <a:xfrm>
            <a:off x="1079606" y="4737248"/>
            <a:ext cx="205269" cy="202155"/>
          </a:xfrm>
          <a:prstGeom prst="plaque">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Plaque 45">
            <a:extLst>
              <a:ext uri="{FF2B5EF4-FFF2-40B4-BE49-F238E27FC236}">
                <a16:creationId xmlns:a16="http://schemas.microsoft.com/office/drawing/2014/main" id="{D50206B5-CD4D-4011-A14F-DEEBADE61D63}"/>
              </a:ext>
            </a:extLst>
          </p:cNvPr>
          <p:cNvSpPr/>
          <p:nvPr/>
        </p:nvSpPr>
        <p:spPr>
          <a:xfrm>
            <a:off x="1182241" y="907445"/>
            <a:ext cx="341759" cy="336574"/>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Plaque 46">
            <a:extLst>
              <a:ext uri="{FF2B5EF4-FFF2-40B4-BE49-F238E27FC236}">
                <a16:creationId xmlns:a16="http://schemas.microsoft.com/office/drawing/2014/main" id="{A8D6906B-4159-4BF5-B692-D55D6C2C5054}"/>
              </a:ext>
            </a:extLst>
          </p:cNvPr>
          <p:cNvSpPr/>
          <p:nvPr/>
        </p:nvSpPr>
        <p:spPr>
          <a:xfrm>
            <a:off x="1866169" y="5072247"/>
            <a:ext cx="326872" cy="321912"/>
          </a:xfrm>
          <a:prstGeom prst="plaque">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8" name="Plaque 47">
            <a:extLst>
              <a:ext uri="{FF2B5EF4-FFF2-40B4-BE49-F238E27FC236}">
                <a16:creationId xmlns:a16="http://schemas.microsoft.com/office/drawing/2014/main" id="{7B15EB97-3FF9-4530-BE16-9ACAFAE12F64}"/>
              </a:ext>
            </a:extLst>
          </p:cNvPr>
          <p:cNvSpPr/>
          <p:nvPr/>
        </p:nvSpPr>
        <p:spPr>
          <a:xfrm>
            <a:off x="7152863" y="6219849"/>
            <a:ext cx="314360" cy="309590"/>
          </a:xfrm>
          <a:prstGeom prst="plaqu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Plaque 48">
            <a:extLst>
              <a:ext uri="{FF2B5EF4-FFF2-40B4-BE49-F238E27FC236}">
                <a16:creationId xmlns:a16="http://schemas.microsoft.com/office/drawing/2014/main" id="{E2FEFB31-FA64-4E11-B6B3-08C49648FD40}"/>
              </a:ext>
            </a:extLst>
          </p:cNvPr>
          <p:cNvSpPr/>
          <p:nvPr/>
        </p:nvSpPr>
        <p:spPr>
          <a:xfrm>
            <a:off x="6905658" y="6083256"/>
            <a:ext cx="155442" cy="153084"/>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Plaque 49">
            <a:extLst>
              <a:ext uri="{FF2B5EF4-FFF2-40B4-BE49-F238E27FC236}">
                <a16:creationId xmlns:a16="http://schemas.microsoft.com/office/drawing/2014/main" id="{BBC25900-7803-44B2-8477-4B5F803EC825}"/>
              </a:ext>
            </a:extLst>
          </p:cNvPr>
          <p:cNvSpPr/>
          <p:nvPr/>
        </p:nvSpPr>
        <p:spPr>
          <a:xfrm>
            <a:off x="1611282" y="766142"/>
            <a:ext cx="314360" cy="309590"/>
          </a:xfrm>
          <a:prstGeom prst="plaque">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Plaque 50">
            <a:extLst>
              <a:ext uri="{FF2B5EF4-FFF2-40B4-BE49-F238E27FC236}">
                <a16:creationId xmlns:a16="http://schemas.microsoft.com/office/drawing/2014/main" id="{712ED471-1364-47D4-9004-8AA32627CD85}"/>
              </a:ext>
            </a:extLst>
          </p:cNvPr>
          <p:cNvSpPr/>
          <p:nvPr/>
        </p:nvSpPr>
        <p:spPr>
          <a:xfrm>
            <a:off x="3676171" y="5744171"/>
            <a:ext cx="341759" cy="336574"/>
          </a:xfrm>
          <a:prstGeom prst="plaque">
            <a:avLst>
              <a:gd name="adj" fmla="val 50000"/>
            </a:avLst>
          </a:prstGeom>
          <a:solidFill>
            <a:srgbClr val="01B3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Plaque 51">
            <a:extLst>
              <a:ext uri="{FF2B5EF4-FFF2-40B4-BE49-F238E27FC236}">
                <a16:creationId xmlns:a16="http://schemas.microsoft.com/office/drawing/2014/main" id="{146CA93B-6778-4195-A968-5140F210DF0B}"/>
              </a:ext>
            </a:extLst>
          </p:cNvPr>
          <p:cNvSpPr/>
          <p:nvPr/>
        </p:nvSpPr>
        <p:spPr>
          <a:xfrm>
            <a:off x="2676527" y="1700999"/>
            <a:ext cx="205269" cy="202155"/>
          </a:xfrm>
          <a:prstGeom prst="plaque">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itle 6">
            <a:extLst>
              <a:ext uri="{FF2B5EF4-FFF2-40B4-BE49-F238E27FC236}">
                <a16:creationId xmlns:a16="http://schemas.microsoft.com/office/drawing/2014/main" id="{95E762AD-7EA6-4D49-AD46-83DD04ED14B4}"/>
              </a:ext>
            </a:extLst>
          </p:cNvPr>
          <p:cNvSpPr txBox="1">
            <a:spLocks/>
          </p:cNvSpPr>
          <p:nvPr/>
        </p:nvSpPr>
        <p:spPr>
          <a:xfrm>
            <a:off x="0" y="617638"/>
            <a:ext cx="12192000" cy="1179935"/>
          </a:xfrm>
          <a:prstGeom prst="rect">
            <a:avLst/>
          </a:prstGeom>
        </p:spPr>
        <p:txBody>
          <a:bodyPr/>
          <a:lstStyle>
            <a:lvl1pPr algn="l" defTabSz="914400" rtl="0" eaLnBrk="1" latinLnBrk="0" hangingPunct="1">
              <a:lnSpc>
                <a:spcPct val="90000"/>
              </a:lnSpc>
              <a:spcBef>
                <a:spcPct val="0"/>
              </a:spcBef>
              <a:buNone/>
              <a:defRPr sz="4400" b="1"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algn="ctr"/>
            <a:r>
              <a:rPr lang="en-US" dirty="0">
                <a:solidFill>
                  <a:srgbClr val="004887"/>
                </a:solidFill>
              </a:rPr>
              <a:t>This Girl Scout Cookie Season,</a:t>
            </a:r>
          </a:p>
        </p:txBody>
      </p:sp>
      <p:sp>
        <p:nvSpPr>
          <p:cNvPr id="37" name="Title 6">
            <a:extLst>
              <a:ext uri="{FF2B5EF4-FFF2-40B4-BE49-F238E27FC236}">
                <a16:creationId xmlns:a16="http://schemas.microsoft.com/office/drawing/2014/main" id="{88206FEA-9483-4E62-A547-634C6B59F3AB}"/>
              </a:ext>
            </a:extLst>
          </p:cNvPr>
          <p:cNvSpPr txBox="1">
            <a:spLocks/>
          </p:cNvSpPr>
          <p:nvPr/>
        </p:nvSpPr>
        <p:spPr>
          <a:xfrm>
            <a:off x="0" y="228601"/>
            <a:ext cx="12192000" cy="256811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b="1" i="0"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dirty="0">
                <a:solidFill>
                  <a:srgbClr val="004887"/>
                </a:solidFill>
              </a:rPr>
              <a:t>we are</a:t>
            </a:r>
            <a:r>
              <a:rPr kumimoji="0" lang="en-US" sz="4400" b="1" i="0" u="none" strike="noStrike" kern="1200" cap="none" spc="0" normalizeH="0" baseline="0" noProof="0" dirty="0">
                <a:ln>
                  <a:noFill/>
                </a:ln>
                <a:solidFill>
                  <a:srgbClr val="004887"/>
                </a:solidFill>
                <a:effectLst/>
                <a:uLnTx/>
                <a:uFillTx/>
                <a:latin typeface="Open Sans" panose="020B0606030504020204" pitchFamily="34" charset="0"/>
                <a:ea typeface="Open Sans" panose="020B0606030504020204" pitchFamily="34" charset="0"/>
                <a:cs typeface="Open Sans" panose="020B0606030504020204" pitchFamily="34" charset="0"/>
              </a:rPr>
              <a:t> ready to…</a:t>
            </a:r>
          </a:p>
        </p:txBody>
      </p:sp>
      <p:pic>
        <p:nvPicPr>
          <p:cNvPr id="2" name="Picture 1"/>
          <p:cNvPicPr>
            <a:picLocks noChangeAspect="1"/>
          </p:cNvPicPr>
          <p:nvPr/>
        </p:nvPicPr>
        <p:blipFill>
          <a:blip r:embed="rId4"/>
          <a:stretch>
            <a:fillRect/>
          </a:stretch>
        </p:blipFill>
        <p:spPr>
          <a:xfrm>
            <a:off x="4530775" y="2112142"/>
            <a:ext cx="2622088" cy="3030056"/>
          </a:xfrm>
          <a:prstGeom prst="rect">
            <a:avLst/>
          </a:prstGeom>
        </p:spPr>
      </p:pic>
    </p:spTree>
    <p:extLst>
      <p:ext uri="{BB962C8B-B14F-4D97-AF65-F5344CB8AC3E}">
        <p14:creationId xmlns:p14="http://schemas.microsoft.com/office/powerpoint/2010/main" val="3782425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38"/>
                                        </p:tgtEl>
                                      </p:cBhvr>
                                    </p:animEffect>
                                    <p:animScale>
                                      <p:cBhvr>
                                        <p:cTn id="7" dur="250" autoRev="1" fill="hold"/>
                                        <p:tgtEl>
                                          <p:spTgt spid="38"/>
                                        </p:tgtEl>
                                      </p:cBhvr>
                                      <p:by x="105000" y="105000"/>
                                    </p:animScale>
                                  </p:childTnLst>
                                </p:cTn>
                              </p:par>
                              <p:par>
                                <p:cTn id="8" presetID="26" presetClass="emph" presetSubtype="0" fill="hold" grpId="0" nodeType="withEffect">
                                  <p:stCondLst>
                                    <p:cond delay="0"/>
                                  </p:stCondLst>
                                  <p:childTnLst>
                                    <p:animEffect transition="out" filter="fade">
                                      <p:cBhvr>
                                        <p:cTn id="9" dur="500" tmFilter="0, 0; .2, .5; .8, .5; 1, 0"/>
                                        <p:tgtEl>
                                          <p:spTgt spid="39"/>
                                        </p:tgtEl>
                                      </p:cBhvr>
                                    </p:animEffect>
                                    <p:animScale>
                                      <p:cBhvr>
                                        <p:cTn id="10" dur="250" autoRev="1" fill="hold"/>
                                        <p:tgtEl>
                                          <p:spTgt spid="39"/>
                                        </p:tgtEl>
                                      </p:cBhvr>
                                      <p:by x="105000" y="105000"/>
                                    </p:animScale>
                                  </p:childTnLst>
                                </p:cTn>
                              </p:par>
                              <p:par>
                                <p:cTn id="11" presetID="26" presetClass="emph" presetSubtype="0" fill="hold" grpId="0" nodeType="withEffect">
                                  <p:stCondLst>
                                    <p:cond delay="0"/>
                                  </p:stCondLst>
                                  <p:childTnLst>
                                    <p:animEffect transition="out" filter="fade">
                                      <p:cBhvr>
                                        <p:cTn id="12" dur="500" tmFilter="0, 0; .2, .5; .8, .5; 1, 0"/>
                                        <p:tgtEl>
                                          <p:spTgt spid="40"/>
                                        </p:tgtEl>
                                      </p:cBhvr>
                                    </p:animEffect>
                                    <p:animScale>
                                      <p:cBhvr>
                                        <p:cTn id="13" dur="250" autoRev="1" fill="hold"/>
                                        <p:tgtEl>
                                          <p:spTgt spid="40"/>
                                        </p:tgtEl>
                                      </p:cBhvr>
                                      <p:by x="105000" y="105000"/>
                                    </p:animScale>
                                  </p:childTnLst>
                                </p:cTn>
                              </p:par>
                              <p:par>
                                <p:cTn id="14" presetID="26" presetClass="emph" presetSubtype="0" fill="hold" grpId="0" nodeType="withEffect">
                                  <p:stCondLst>
                                    <p:cond delay="0"/>
                                  </p:stCondLst>
                                  <p:childTnLst>
                                    <p:animEffect transition="out" filter="fade">
                                      <p:cBhvr>
                                        <p:cTn id="15" dur="500" tmFilter="0, 0; .2, .5; .8, .5; 1, 0"/>
                                        <p:tgtEl>
                                          <p:spTgt spid="41"/>
                                        </p:tgtEl>
                                      </p:cBhvr>
                                    </p:animEffect>
                                    <p:animScale>
                                      <p:cBhvr>
                                        <p:cTn id="16" dur="250" autoRev="1" fill="hold"/>
                                        <p:tgtEl>
                                          <p:spTgt spid="41"/>
                                        </p:tgtEl>
                                      </p:cBhvr>
                                      <p:by x="105000" y="105000"/>
                                    </p:animScale>
                                  </p:childTnLst>
                                </p:cTn>
                              </p:par>
                            </p:childTnLst>
                          </p:cTn>
                        </p:par>
                        <p:par>
                          <p:cTn id="17" fill="hold">
                            <p:stCondLst>
                              <p:cond delay="500"/>
                            </p:stCondLst>
                            <p:childTnLst>
                              <p:par>
                                <p:cTn id="18" presetID="26" presetClass="emph" presetSubtype="0" fill="hold" grpId="0" nodeType="afterEffect">
                                  <p:stCondLst>
                                    <p:cond delay="0"/>
                                  </p:stCondLst>
                                  <p:childTnLst>
                                    <p:animEffect transition="out" filter="fade">
                                      <p:cBhvr>
                                        <p:cTn id="19" dur="500" tmFilter="0, 0; .2, .5; .8, .5; 1, 0"/>
                                        <p:tgtEl>
                                          <p:spTgt spid="42"/>
                                        </p:tgtEl>
                                      </p:cBhvr>
                                    </p:animEffect>
                                    <p:animScale>
                                      <p:cBhvr>
                                        <p:cTn id="20" dur="250" autoRev="1" fill="hold"/>
                                        <p:tgtEl>
                                          <p:spTgt spid="42"/>
                                        </p:tgtEl>
                                      </p:cBhvr>
                                      <p:by x="105000" y="105000"/>
                                    </p:animScale>
                                  </p:childTnLst>
                                </p:cTn>
                              </p:par>
                              <p:par>
                                <p:cTn id="21" presetID="26" presetClass="emph" presetSubtype="0" fill="hold" grpId="0" nodeType="withEffect">
                                  <p:stCondLst>
                                    <p:cond delay="0"/>
                                  </p:stCondLst>
                                  <p:childTnLst>
                                    <p:animEffect transition="out" filter="fade">
                                      <p:cBhvr>
                                        <p:cTn id="22" dur="500" tmFilter="0, 0; .2, .5; .8, .5; 1, 0"/>
                                        <p:tgtEl>
                                          <p:spTgt spid="43"/>
                                        </p:tgtEl>
                                      </p:cBhvr>
                                    </p:animEffect>
                                    <p:animScale>
                                      <p:cBhvr>
                                        <p:cTn id="23" dur="250" autoRev="1" fill="hold"/>
                                        <p:tgtEl>
                                          <p:spTgt spid="43"/>
                                        </p:tgtEl>
                                      </p:cBhvr>
                                      <p:by x="105000" y="105000"/>
                                    </p:animScale>
                                  </p:childTnLst>
                                </p:cTn>
                              </p:par>
                              <p:par>
                                <p:cTn id="24" presetID="26" presetClass="emph" presetSubtype="0" fill="hold" grpId="0" nodeType="withEffect">
                                  <p:stCondLst>
                                    <p:cond delay="0"/>
                                  </p:stCondLst>
                                  <p:childTnLst>
                                    <p:animEffect transition="out" filter="fade">
                                      <p:cBhvr>
                                        <p:cTn id="25" dur="500" tmFilter="0, 0; .2, .5; .8, .5; 1, 0"/>
                                        <p:tgtEl>
                                          <p:spTgt spid="44"/>
                                        </p:tgtEl>
                                      </p:cBhvr>
                                    </p:animEffect>
                                    <p:animScale>
                                      <p:cBhvr>
                                        <p:cTn id="26" dur="250" autoRev="1" fill="hold"/>
                                        <p:tgtEl>
                                          <p:spTgt spid="44"/>
                                        </p:tgtEl>
                                      </p:cBhvr>
                                      <p:by x="105000" y="105000"/>
                                    </p:animScale>
                                  </p:childTnLst>
                                </p:cTn>
                              </p:par>
                              <p:par>
                                <p:cTn id="27" presetID="26" presetClass="emph" presetSubtype="0" fill="hold" grpId="0" nodeType="withEffect">
                                  <p:stCondLst>
                                    <p:cond delay="0"/>
                                  </p:stCondLst>
                                  <p:childTnLst>
                                    <p:animEffect transition="out" filter="fade">
                                      <p:cBhvr>
                                        <p:cTn id="28" dur="500" tmFilter="0, 0; .2, .5; .8, .5; 1, 0"/>
                                        <p:tgtEl>
                                          <p:spTgt spid="46"/>
                                        </p:tgtEl>
                                      </p:cBhvr>
                                    </p:animEffect>
                                    <p:animScale>
                                      <p:cBhvr>
                                        <p:cTn id="29" dur="250" autoRev="1" fill="hold"/>
                                        <p:tgtEl>
                                          <p:spTgt spid="46"/>
                                        </p:tgtEl>
                                      </p:cBhvr>
                                      <p:by x="105000" y="105000"/>
                                    </p:animScale>
                                  </p:childTnLst>
                                </p:cTn>
                              </p:par>
                            </p:childTnLst>
                          </p:cTn>
                        </p:par>
                        <p:par>
                          <p:cTn id="30" fill="hold">
                            <p:stCondLst>
                              <p:cond delay="1000"/>
                            </p:stCondLst>
                            <p:childTnLst>
                              <p:par>
                                <p:cTn id="31" presetID="26" presetClass="emph" presetSubtype="0" fill="hold" grpId="0" nodeType="afterEffect">
                                  <p:stCondLst>
                                    <p:cond delay="0"/>
                                  </p:stCondLst>
                                  <p:childTnLst>
                                    <p:animEffect transition="out" filter="fade">
                                      <p:cBhvr>
                                        <p:cTn id="32" dur="500" tmFilter="0, 0; .2, .5; .8, .5; 1, 0"/>
                                        <p:tgtEl>
                                          <p:spTgt spid="47"/>
                                        </p:tgtEl>
                                      </p:cBhvr>
                                    </p:animEffect>
                                    <p:animScale>
                                      <p:cBhvr>
                                        <p:cTn id="33" dur="250" autoRev="1" fill="hold"/>
                                        <p:tgtEl>
                                          <p:spTgt spid="47"/>
                                        </p:tgtEl>
                                      </p:cBhvr>
                                      <p:by x="105000" y="105000"/>
                                    </p:animScale>
                                  </p:childTnLst>
                                </p:cTn>
                              </p:par>
                              <p:par>
                                <p:cTn id="34" presetID="26" presetClass="emph" presetSubtype="0" fill="hold" grpId="0" nodeType="withEffect">
                                  <p:stCondLst>
                                    <p:cond delay="0"/>
                                  </p:stCondLst>
                                  <p:childTnLst>
                                    <p:animEffect transition="out" filter="fade">
                                      <p:cBhvr>
                                        <p:cTn id="35" dur="500" tmFilter="0, 0; .2, .5; .8, .5; 1, 0"/>
                                        <p:tgtEl>
                                          <p:spTgt spid="48"/>
                                        </p:tgtEl>
                                      </p:cBhvr>
                                    </p:animEffect>
                                    <p:animScale>
                                      <p:cBhvr>
                                        <p:cTn id="36" dur="250" autoRev="1" fill="hold"/>
                                        <p:tgtEl>
                                          <p:spTgt spid="48"/>
                                        </p:tgtEl>
                                      </p:cBhvr>
                                      <p:by x="105000" y="105000"/>
                                    </p:animScale>
                                  </p:childTnLst>
                                </p:cTn>
                              </p:par>
                              <p:par>
                                <p:cTn id="37" presetID="26" presetClass="emph" presetSubtype="0" fill="hold" grpId="0" nodeType="withEffect">
                                  <p:stCondLst>
                                    <p:cond delay="0"/>
                                  </p:stCondLst>
                                  <p:childTnLst>
                                    <p:animEffect transition="out" filter="fade">
                                      <p:cBhvr>
                                        <p:cTn id="38" dur="500" tmFilter="0, 0; .2, .5; .8, .5; 1, 0"/>
                                        <p:tgtEl>
                                          <p:spTgt spid="49"/>
                                        </p:tgtEl>
                                      </p:cBhvr>
                                    </p:animEffect>
                                    <p:animScale>
                                      <p:cBhvr>
                                        <p:cTn id="39" dur="250" autoRev="1" fill="hold"/>
                                        <p:tgtEl>
                                          <p:spTgt spid="49"/>
                                        </p:tgtEl>
                                      </p:cBhvr>
                                      <p:by x="105000" y="105000"/>
                                    </p:animScale>
                                  </p:childTnLst>
                                </p:cTn>
                              </p:par>
                              <p:par>
                                <p:cTn id="40" presetID="26" presetClass="emph" presetSubtype="0" fill="hold" grpId="0" nodeType="withEffect">
                                  <p:stCondLst>
                                    <p:cond delay="0"/>
                                  </p:stCondLst>
                                  <p:childTnLst>
                                    <p:animEffect transition="out" filter="fade">
                                      <p:cBhvr>
                                        <p:cTn id="41" dur="500" tmFilter="0, 0; .2, .5; .8, .5; 1, 0"/>
                                        <p:tgtEl>
                                          <p:spTgt spid="50"/>
                                        </p:tgtEl>
                                      </p:cBhvr>
                                    </p:animEffect>
                                    <p:animScale>
                                      <p:cBhvr>
                                        <p:cTn id="42" dur="250" autoRev="1" fill="hold"/>
                                        <p:tgtEl>
                                          <p:spTgt spid="50"/>
                                        </p:tgtEl>
                                      </p:cBhvr>
                                      <p:by x="105000" y="105000"/>
                                    </p:animScale>
                                  </p:childTnLst>
                                </p:cTn>
                              </p:par>
                              <p:par>
                                <p:cTn id="43" presetID="26" presetClass="emph" presetSubtype="0" fill="hold" grpId="0" nodeType="withEffect">
                                  <p:stCondLst>
                                    <p:cond delay="0"/>
                                  </p:stCondLst>
                                  <p:childTnLst>
                                    <p:animEffect transition="out" filter="fade">
                                      <p:cBhvr>
                                        <p:cTn id="44" dur="500" tmFilter="0, 0; .2, .5; .8, .5; 1, 0"/>
                                        <p:tgtEl>
                                          <p:spTgt spid="51"/>
                                        </p:tgtEl>
                                      </p:cBhvr>
                                    </p:animEffect>
                                    <p:animScale>
                                      <p:cBhvr>
                                        <p:cTn id="45" dur="250" autoRev="1" fill="hold"/>
                                        <p:tgtEl>
                                          <p:spTgt spid="5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41" grpId="0" animBg="1"/>
      <p:bldP spid="42" grpId="0" animBg="1"/>
      <p:bldP spid="43" grpId="0" animBg="1"/>
      <p:bldP spid="44" grpId="0" animBg="1"/>
      <p:bldP spid="46" grpId="0" animBg="1"/>
      <p:bldP spid="47" grpId="0" animBg="1"/>
      <p:bldP spid="48" grpId="0" animBg="1"/>
      <p:bldP spid="49" grpId="0" animBg="1"/>
      <p:bldP spid="50" grpId="0" animBg="1"/>
      <p:bldP spid="5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691276"/>
            <a:ext cx="9960795" cy="1046084"/>
          </a:xfrm>
        </p:spPr>
        <p:txBody>
          <a:bodyPr/>
          <a:lstStyle/>
          <a:p>
            <a:pPr algn="ctr"/>
            <a:r>
              <a:rPr lang="en-US" sz="4400" dirty="0" smtClean="0"/>
              <a:t>Rewards  2023</a:t>
            </a:r>
            <a:endParaRPr lang="en-US" sz="4400" dirty="0"/>
          </a:p>
        </p:txBody>
      </p:sp>
      <p:grpSp>
        <p:nvGrpSpPr>
          <p:cNvPr id="4" name="Group 3">
            <a:extLst>
              <a:ext uri="{FF2B5EF4-FFF2-40B4-BE49-F238E27FC236}">
                <a16:creationId xmlns:a16="http://schemas.microsoft.com/office/drawing/2014/main" id="{9A8CABA3-C6E7-40C2-903C-6D9699D508E0}"/>
              </a:ext>
            </a:extLst>
          </p:cNvPr>
          <p:cNvGrpSpPr/>
          <p:nvPr/>
        </p:nvGrpSpPr>
        <p:grpSpPr>
          <a:xfrm>
            <a:off x="3639313" y="1408176"/>
            <a:ext cx="4407408" cy="3986784"/>
            <a:chOff x="750543" y="1131455"/>
            <a:chExt cx="4745902" cy="4745902"/>
          </a:xfrm>
        </p:grpSpPr>
        <p:sp>
          <p:nvSpPr>
            <p:cNvPr id="5" name="Oval 4">
              <a:extLst>
                <a:ext uri="{FF2B5EF4-FFF2-40B4-BE49-F238E27FC236}">
                  <a16:creationId xmlns:a16="http://schemas.microsoft.com/office/drawing/2014/main" id="{DA3DA50A-D6D2-EEE5-9C59-863FA569E575}"/>
                </a:ext>
              </a:extLst>
            </p:cNvPr>
            <p:cNvSpPr/>
            <p:nvPr/>
          </p:nvSpPr>
          <p:spPr>
            <a:xfrm>
              <a:off x="750543" y="1131455"/>
              <a:ext cx="4745902" cy="4745902"/>
            </a:xfrm>
            <a:prstGeom prst="ellipse">
              <a:avLst/>
            </a:prstGeom>
            <a:blipFill>
              <a:blip r:embed="rId2"/>
              <a:stretch>
                <a:fillRect l="-9759" t="-10691" r="-9521" b="-8589"/>
              </a:stretch>
            </a:blipFill>
            <a:ln w="76200" cap="flat" cmpd="sng" algn="ctr">
              <a:solidFill>
                <a:srgbClr val="FFFFFF"/>
              </a:solidFill>
              <a:prstDash val="solid"/>
              <a:miter lim="800000"/>
            </a:ln>
            <a:effectLst>
              <a:outerShdw blurRad="114300" dist="63500" dir="3420000" algn="tl" rotWithShape="0">
                <a:srgbClr val="000000">
                  <a:alpha val="29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pic>
          <p:nvPicPr>
            <p:cNvPr id="6" name="Picture 5" descr="Icon&#10;&#10;Description automatically generated">
              <a:extLst>
                <a:ext uri="{FF2B5EF4-FFF2-40B4-BE49-F238E27FC236}">
                  <a16:creationId xmlns:a16="http://schemas.microsoft.com/office/drawing/2014/main" id="{732A38FF-5CF8-5B03-4CAC-B5D25E0EC585}"/>
                </a:ext>
              </a:extLst>
            </p:cNvPr>
            <p:cNvPicPr>
              <a:picLocks noChangeAspect="1"/>
            </p:cNvPicPr>
            <p:nvPr/>
          </p:nvPicPr>
          <p:blipFill>
            <a:blip r:embed="rId3"/>
            <a:stretch>
              <a:fillRect/>
            </a:stretch>
          </p:blipFill>
          <p:spPr>
            <a:xfrm>
              <a:off x="873614" y="1717041"/>
              <a:ext cx="3707817" cy="2826752"/>
            </a:xfrm>
            <a:prstGeom prst="rect">
              <a:avLst/>
            </a:prstGeom>
          </p:spPr>
        </p:pic>
      </p:grpSp>
    </p:spTree>
    <p:extLst>
      <p:ext uri="{BB962C8B-B14F-4D97-AF65-F5344CB8AC3E}">
        <p14:creationId xmlns:p14="http://schemas.microsoft.com/office/powerpoint/2010/main" val="395330745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8" y="237744"/>
            <a:ext cx="10189397" cy="658368"/>
          </a:xfrm>
        </p:spPr>
        <p:txBody>
          <a:bodyPr/>
          <a:lstStyle/>
          <a:p>
            <a:pPr algn="ctr"/>
            <a:r>
              <a:rPr lang="en-US" sz="5400" dirty="0" smtClean="0"/>
              <a:t>Troop Proceeds </a:t>
            </a:r>
            <a:endParaRPr lang="en-US" sz="5400" dirty="0"/>
          </a:p>
        </p:txBody>
      </p:sp>
      <p:sp>
        <p:nvSpPr>
          <p:cNvPr id="4" name="Rectangle 3"/>
          <p:cNvSpPr/>
          <p:nvPr/>
        </p:nvSpPr>
        <p:spPr>
          <a:xfrm>
            <a:off x="859536" y="1143874"/>
            <a:ext cx="10808208" cy="3970318"/>
          </a:xfrm>
          <a:prstGeom prst="rect">
            <a:avLst/>
          </a:prstGeom>
        </p:spPr>
        <p:txBody>
          <a:bodyPr wrap="square">
            <a:spAutoFit/>
          </a:bodyPr>
          <a:lstStyle/>
          <a:p>
            <a:pPr marL="285750" lvl="0" indent="-28575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Troops earn 90 cents per box</a:t>
            </a:r>
          </a:p>
          <a:p>
            <a:pPr lvl="0">
              <a:spcBef>
                <a:spcPct val="0"/>
              </a:spcBef>
            </a:pPr>
            <a:endParaRPr lang="en-US" altLang="en-US" sz="2800" b="1" dirty="0">
              <a:solidFill>
                <a:srgbClr val="00B050"/>
              </a:solidFill>
              <a:latin typeface="Girl Scout Text Medium" panose="02020003000000000000" pitchFamily="18" charset="0"/>
            </a:endParaRPr>
          </a:p>
          <a:p>
            <a:pPr marL="285750" lvl="0" indent="-28575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Additional 5 cent bonus for troops who achieve </a:t>
            </a:r>
            <a:r>
              <a:rPr lang="en-US" altLang="en-US" sz="2800" b="1" dirty="0" smtClean="0">
                <a:solidFill>
                  <a:srgbClr val="00B050"/>
                </a:solidFill>
                <a:latin typeface="Girl Scout Text Medium" panose="02020003000000000000" pitchFamily="18" charset="0"/>
              </a:rPr>
              <a:t>150 </a:t>
            </a:r>
            <a:r>
              <a:rPr lang="en-US" altLang="en-US" sz="2800" b="1" dirty="0">
                <a:solidFill>
                  <a:srgbClr val="00B050"/>
                </a:solidFill>
                <a:latin typeface="Girl Scout Text Medium" panose="02020003000000000000" pitchFamily="18" charset="0"/>
              </a:rPr>
              <a:t>PGA on Initial Order</a:t>
            </a:r>
          </a:p>
          <a:p>
            <a:pPr lvl="0">
              <a:spcBef>
                <a:spcPct val="0"/>
              </a:spcBef>
            </a:pPr>
            <a:endParaRPr lang="en-US" altLang="en-US" sz="2800" b="1" dirty="0">
              <a:solidFill>
                <a:srgbClr val="00B050"/>
              </a:solidFill>
              <a:latin typeface="Girl Scout Text Medium" panose="02020003000000000000" pitchFamily="18" charset="0"/>
            </a:endParaRPr>
          </a:p>
          <a:p>
            <a:pPr marL="285750" lvl="0" indent="-28575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Some girls earn additional 5 cents for membership early bird </a:t>
            </a:r>
            <a:r>
              <a:rPr lang="en-US" altLang="en-US" sz="2800" b="1" dirty="0" smtClean="0">
                <a:solidFill>
                  <a:srgbClr val="00B050"/>
                </a:solidFill>
                <a:latin typeface="Girl Scout Text Medium" panose="02020003000000000000" pitchFamily="18" charset="0"/>
              </a:rPr>
              <a:t>reward</a:t>
            </a:r>
          </a:p>
          <a:p>
            <a:pPr marL="285750" lvl="0" indent="-285750">
              <a:spcBef>
                <a:spcPct val="0"/>
              </a:spcBef>
              <a:buFont typeface="Arial" panose="020B0604020202020204" pitchFamily="34" charset="0"/>
              <a:buChar char="•"/>
            </a:pPr>
            <a:endParaRPr lang="en-US" altLang="en-US" sz="2800" b="1" dirty="0" smtClean="0">
              <a:solidFill>
                <a:srgbClr val="00B050"/>
              </a:solidFill>
              <a:latin typeface="Girl Scout Text Medium" panose="02020003000000000000" pitchFamily="18" charset="0"/>
            </a:endParaRPr>
          </a:p>
          <a:p>
            <a:pPr marL="285750" lvl="0" indent="-285750">
              <a:spcBef>
                <a:spcPct val="0"/>
              </a:spcBef>
              <a:buFont typeface="Arial" panose="020B0604020202020204" pitchFamily="34" charset="0"/>
              <a:buChar char="•"/>
            </a:pPr>
            <a:r>
              <a:rPr lang="en-US" altLang="en-US" sz="2800" b="1" dirty="0" smtClean="0">
                <a:solidFill>
                  <a:srgbClr val="00B050"/>
                </a:solidFill>
                <a:latin typeface="Girl Scout Text Medium" panose="02020003000000000000" pitchFamily="18" charset="0"/>
              </a:rPr>
              <a:t>NEW! Opt Out for C/S/A troops and C/S/A </a:t>
            </a:r>
            <a:r>
              <a:rPr lang="en-US" altLang="en-US" sz="2800" b="1" dirty="0" err="1" smtClean="0">
                <a:solidFill>
                  <a:srgbClr val="00B050"/>
                </a:solidFill>
                <a:latin typeface="Girl Scout Text Medium" panose="02020003000000000000" pitchFamily="18" charset="0"/>
              </a:rPr>
              <a:t>Juliettes</a:t>
            </a:r>
            <a:r>
              <a:rPr lang="en-US" altLang="en-US" sz="2800" b="1" dirty="0" smtClean="0">
                <a:solidFill>
                  <a:srgbClr val="00B050"/>
                </a:solidFill>
                <a:latin typeface="Girl Scout Text Medium" panose="02020003000000000000" pitchFamily="18" charset="0"/>
              </a:rPr>
              <a:t> with 150 PGA </a:t>
            </a:r>
            <a:endParaRPr lang="en-US" altLang="en-US" sz="2800" b="1" dirty="0">
              <a:solidFill>
                <a:srgbClr val="00B050"/>
              </a:solidFill>
              <a:latin typeface="Girl Scout Text Medium" panose="02020003000000000000" pitchFamily="18" charset="0"/>
            </a:endParaRPr>
          </a:p>
        </p:txBody>
      </p:sp>
    </p:spTree>
    <p:extLst>
      <p:ext uri="{BB962C8B-B14F-4D97-AF65-F5344CB8AC3E}">
        <p14:creationId xmlns:p14="http://schemas.microsoft.com/office/powerpoint/2010/main" val="323721120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0"/>
            <a:ext cx="10945369" cy="777240"/>
          </a:xfrm>
        </p:spPr>
        <p:txBody>
          <a:bodyPr/>
          <a:lstStyle/>
          <a:p>
            <a:pPr algn="ctr"/>
            <a:r>
              <a:rPr lang="en-US" sz="4800" dirty="0" smtClean="0"/>
              <a:t>Rewards 2023</a:t>
            </a:r>
            <a:r>
              <a:rPr lang="en-US" dirty="0" smtClean="0"/>
              <a:t> </a:t>
            </a:r>
            <a:endParaRPr lang="en-US" dirty="0"/>
          </a:p>
        </p:txBody>
      </p:sp>
      <p:sp>
        <p:nvSpPr>
          <p:cNvPr id="4" name="Rectangle 3"/>
          <p:cNvSpPr/>
          <p:nvPr/>
        </p:nvSpPr>
        <p:spPr>
          <a:xfrm>
            <a:off x="859536" y="1170913"/>
            <a:ext cx="10314432" cy="4401205"/>
          </a:xfrm>
          <a:prstGeom prst="rect">
            <a:avLst/>
          </a:prstGeom>
        </p:spPr>
        <p:txBody>
          <a:bodyPr wrap="square">
            <a:spAutoFit/>
          </a:bodyPr>
          <a:lstStyle/>
          <a:p>
            <a:pPr marL="342900" lvl="0" indent="-34290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Rewards are cumulative—girls earn at every </a:t>
            </a:r>
            <a:r>
              <a:rPr lang="en-US" altLang="en-US" sz="2800" b="1" dirty="0" smtClean="0">
                <a:solidFill>
                  <a:srgbClr val="00B050"/>
                </a:solidFill>
                <a:latin typeface="Girl Scout Text Medium" panose="02020003000000000000" pitchFamily="18" charset="0"/>
              </a:rPr>
              <a:t>level they </a:t>
            </a:r>
            <a:r>
              <a:rPr lang="en-US" altLang="en-US" sz="2800" b="1" dirty="0">
                <a:solidFill>
                  <a:srgbClr val="00B050"/>
                </a:solidFill>
                <a:latin typeface="Girl Scout Text Medium" panose="02020003000000000000" pitchFamily="18" charset="0"/>
              </a:rPr>
              <a:t>achieve</a:t>
            </a:r>
          </a:p>
          <a:p>
            <a:pPr lvl="0">
              <a:spcBef>
                <a:spcPct val="0"/>
              </a:spcBef>
            </a:pPr>
            <a:endParaRPr lang="en-US" altLang="en-US" sz="2800" b="1" dirty="0">
              <a:solidFill>
                <a:srgbClr val="00B050"/>
              </a:solidFill>
              <a:latin typeface="Girl Scout Text Medium" panose="02020003000000000000" pitchFamily="18" charset="0"/>
            </a:endParaRPr>
          </a:p>
          <a:p>
            <a:pPr marL="342900" lvl="0" indent="-34290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Choice of reward or Dough-Si-Dough at several reward </a:t>
            </a:r>
            <a:r>
              <a:rPr lang="en-US" altLang="en-US" sz="2800" b="1" dirty="0" smtClean="0">
                <a:solidFill>
                  <a:srgbClr val="00B050"/>
                </a:solidFill>
                <a:latin typeface="Girl Scout Text Medium" panose="02020003000000000000" pitchFamily="18" charset="0"/>
              </a:rPr>
              <a:t>levels beginning at 200+ packages </a:t>
            </a:r>
            <a:endParaRPr lang="en-US" altLang="en-US" sz="2800" b="1" dirty="0">
              <a:solidFill>
                <a:srgbClr val="00B050"/>
              </a:solidFill>
              <a:latin typeface="Girl Scout Text Medium" panose="02020003000000000000" pitchFamily="18" charset="0"/>
            </a:endParaRPr>
          </a:p>
          <a:p>
            <a:pPr marL="342900" lvl="0" indent="-342900">
              <a:spcBef>
                <a:spcPct val="0"/>
              </a:spcBef>
              <a:buFont typeface="Arial" panose="020B0604020202020204" pitchFamily="34" charset="0"/>
              <a:buChar char="•"/>
            </a:pPr>
            <a:endParaRPr lang="en-US" altLang="en-US" sz="2800" b="1" dirty="0">
              <a:solidFill>
                <a:srgbClr val="00B050"/>
              </a:solidFill>
              <a:latin typeface="Girl Scout Text Medium" panose="02020003000000000000" pitchFamily="18" charset="0"/>
            </a:endParaRPr>
          </a:p>
          <a:p>
            <a:pPr marL="457200" lvl="0" indent="-457200">
              <a:spcBef>
                <a:spcPct val="0"/>
              </a:spcBef>
              <a:buFont typeface="Arial" panose="020B0604020202020204" pitchFamily="34" charset="0"/>
              <a:buChar char="•"/>
            </a:pPr>
            <a:r>
              <a:rPr lang="en-US" altLang="en-US" sz="2800" b="1" dirty="0">
                <a:solidFill>
                  <a:srgbClr val="00B050"/>
                </a:solidFill>
                <a:latin typeface="Girl Scout Text Medium" panose="02020003000000000000" pitchFamily="18" charset="0"/>
              </a:rPr>
              <a:t>Troops MUST select each girl’s choice</a:t>
            </a:r>
          </a:p>
          <a:p>
            <a:pPr marL="342900" lvl="0" indent="-342900">
              <a:spcBef>
                <a:spcPct val="0"/>
              </a:spcBef>
              <a:buFont typeface="Arial" panose="020B0604020202020204" pitchFamily="34" charset="0"/>
              <a:buChar char="•"/>
            </a:pPr>
            <a:endParaRPr lang="en-US" altLang="en-US" sz="2800" b="1" dirty="0">
              <a:solidFill>
                <a:srgbClr val="00B050"/>
              </a:solidFill>
              <a:latin typeface="Girl Scout Text Medium" panose="02020003000000000000" pitchFamily="18" charset="0"/>
            </a:endParaRPr>
          </a:p>
          <a:p>
            <a:pPr marL="342900" lvl="0" indent="-342900">
              <a:buFont typeface="Arial" panose="020B0604020202020204" pitchFamily="34" charset="0"/>
              <a:buChar char="•"/>
            </a:pPr>
            <a:r>
              <a:rPr lang="en-US" altLang="en-US" sz="2800" b="1" dirty="0">
                <a:solidFill>
                  <a:srgbClr val="00B050"/>
                </a:solidFill>
                <a:latin typeface="Girl Scout Text Medium" panose="02020003000000000000" pitchFamily="18" charset="0"/>
              </a:rPr>
              <a:t>I/O Rewards are shipped to SUCC in time for delivery</a:t>
            </a:r>
          </a:p>
          <a:p>
            <a:pPr lvl="0"/>
            <a:endParaRPr lang="en-US" altLang="en-US" sz="2800" b="1" dirty="0">
              <a:solidFill>
                <a:srgbClr val="00B050"/>
              </a:solidFill>
              <a:latin typeface="Girl Scout Text Medium" panose="02020003000000000000" pitchFamily="18" charset="0"/>
            </a:endParaRPr>
          </a:p>
          <a:p>
            <a:pPr marL="342900" lvl="0" indent="-342900">
              <a:buFont typeface="Arial" panose="020B0604020202020204" pitchFamily="34" charset="0"/>
              <a:buChar char="•"/>
            </a:pPr>
            <a:r>
              <a:rPr lang="en-US" altLang="en-US" sz="2800" b="1" dirty="0">
                <a:solidFill>
                  <a:srgbClr val="00B050"/>
                </a:solidFill>
                <a:latin typeface="Girl Scout Text Medium" panose="02020003000000000000" pitchFamily="18" charset="0"/>
              </a:rPr>
              <a:t>Final rewards are shipped at the end of cookie sale</a:t>
            </a:r>
            <a:endParaRPr lang="en-US" sz="2800" dirty="0">
              <a:solidFill>
                <a:prstClr val="black"/>
              </a:solidFill>
              <a:latin typeface="Girl Scout Text Medium" panose="02020003000000000000" pitchFamily="18" charset="0"/>
            </a:endParaRPr>
          </a:p>
        </p:txBody>
      </p:sp>
    </p:spTree>
    <p:extLst>
      <p:ext uri="{BB962C8B-B14F-4D97-AF65-F5344CB8AC3E}">
        <p14:creationId xmlns:p14="http://schemas.microsoft.com/office/powerpoint/2010/main" val="3591385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rot="20098628" flipH="1">
            <a:off x="633938" y="5593168"/>
            <a:ext cx="1145770" cy="461665"/>
          </a:xfrm>
          <a:prstGeom prst="rect">
            <a:avLst/>
          </a:prstGeom>
          <a:noFill/>
        </p:spPr>
        <p:txBody>
          <a:bodyPr wrap="square" rtlCol="0">
            <a:spAutoFit/>
          </a:bodyPr>
          <a:lstStyle/>
          <a:p>
            <a:pPr algn="ctr"/>
            <a:r>
              <a:rPr lang="en-US" sz="2400" b="1" dirty="0">
                <a:solidFill>
                  <a:schemeClr val="bg1"/>
                </a:solidFill>
              </a:rPr>
              <a:t>FPO</a:t>
            </a:r>
          </a:p>
        </p:txBody>
      </p:sp>
      <p:sp>
        <p:nvSpPr>
          <p:cNvPr id="2" name="Title 1">
            <a:extLst>
              <a:ext uri="{FF2B5EF4-FFF2-40B4-BE49-F238E27FC236}">
                <a16:creationId xmlns:a16="http://schemas.microsoft.com/office/drawing/2014/main" id="{F9C4F363-3647-4938-82DE-BC5C03F0F6B3}"/>
              </a:ext>
            </a:extLst>
          </p:cNvPr>
          <p:cNvSpPr>
            <a:spLocks noGrp="1"/>
          </p:cNvSpPr>
          <p:nvPr>
            <p:ph type="title"/>
          </p:nvPr>
        </p:nvSpPr>
        <p:spPr/>
        <p:txBody>
          <a:bodyPr/>
          <a:lstStyle/>
          <a:p>
            <a:r>
              <a:rPr lang="en-US" dirty="0" smtClean="0"/>
              <a:t>Opt Out Rewards Option</a:t>
            </a:r>
            <a:endParaRPr lang="en-US" dirty="0"/>
          </a:p>
        </p:txBody>
      </p:sp>
      <p:sp>
        <p:nvSpPr>
          <p:cNvPr id="3" name="Text Placeholder 2">
            <a:extLst>
              <a:ext uri="{FF2B5EF4-FFF2-40B4-BE49-F238E27FC236}">
                <a16:creationId xmlns:a16="http://schemas.microsoft.com/office/drawing/2014/main" id="{8B353AE6-C204-4584-A3A1-DA802D0F2321}"/>
              </a:ext>
            </a:extLst>
          </p:cNvPr>
          <p:cNvSpPr>
            <a:spLocks noGrp="1"/>
          </p:cNvSpPr>
          <p:nvPr>
            <p:ph type="body" idx="1"/>
          </p:nvPr>
        </p:nvSpPr>
        <p:spPr>
          <a:xfrm>
            <a:off x="228597" y="676274"/>
            <a:ext cx="10189397" cy="452598"/>
          </a:xfrm>
        </p:spPr>
        <p:txBody>
          <a:bodyPr/>
          <a:lstStyle/>
          <a:p>
            <a:r>
              <a:rPr lang="en-US" dirty="0" smtClean="0"/>
              <a:t>New this year for </a:t>
            </a:r>
            <a:r>
              <a:rPr lang="en-US" dirty="0" err="1"/>
              <a:t>C</a:t>
            </a:r>
            <a:r>
              <a:rPr lang="en-US" dirty="0" err="1" smtClean="0"/>
              <a:t>adettes</a:t>
            </a:r>
            <a:r>
              <a:rPr lang="en-US" dirty="0" smtClean="0"/>
              <a:t>, Seniors and Ambassadors</a:t>
            </a:r>
            <a:endParaRPr lang="en-US" dirty="0"/>
          </a:p>
        </p:txBody>
      </p:sp>
      <p:sp>
        <p:nvSpPr>
          <p:cNvPr id="5" name="Text Placeholder 2">
            <a:extLst>
              <a:ext uri="{FF2B5EF4-FFF2-40B4-BE49-F238E27FC236}">
                <a16:creationId xmlns:a16="http://schemas.microsoft.com/office/drawing/2014/main" id="{8B353AE6-C204-4584-A3A1-DA802D0F2321}"/>
              </a:ext>
            </a:extLst>
          </p:cNvPr>
          <p:cNvSpPr txBox="1">
            <a:spLocks/>
          </p:cNvSpPr>
          <p:nvPr/>
        </p:nvSpPr>
        <p:spPr>
          <a:xfrm>
            <a:off x="228597" y="1380251"/>
            <a:ext cx="11790950" cy="452598"/>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FC6C0F"/>
                </a:solidFill>
                <a:latin typeface="Century Gothic" panose="020B0502020202020204" pitchFamily="34" charset="0"/>
                <a:ea typeface="Open Sans" panose="020B0606030504020204" pitchFamily="34" charset="0"/>
                <a:cs typeface="Open Sans" panose="020B06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dirty="0" smtClean="0">
                <a:solidFill>
                  <a:srgbClr val="7030A0"/>
                </a:solidFill>
              </a:rPr>
              <a:t>Older Girl Troops that achieve a 150 PGA during Initial Order can </a:t>
            </a:r>
            <a:r>
              <a:rPr lang="en-US" dirty="0">
                <a:solidFill>
                  <a:srgbClr val="7030A0"/>
                </a:solidFill>
              </a:rPr>
              <a:t>earn </a:t>
            </a:r>
            <a:r>
              <a:rPr lang="en-US" dirty="0" smtClean="0">
                <a:solidFill>
                  <a:srgbClr val="7030A0"/>
                </a:solidFill>
              </a:rPr>
              <a:t>10</a:t>
            </a:r>
            <a:r>
              <a:rPr lang="en-US" dirty="0" smtClean="0">
                <a:solidFill>
                  <a:srgbClr val="7030A0"/>
                </a:solidFill>
                <a:latin typeface="Girl Scout Text Medium" panose="02020003000000000000" pitchFamily="18" charset="0"/>
              </a:rPr>
              <a:t>¢</a:t>
            </a:r>
            <a:r>
              <a:rPr lang="en-US" dirty="0" smtClean="0">
                <a:solidFill>
                  <a:srgbClr val="7030A0"/>
                </a:solidFill>
              </a:rPr>
              <a:t> </a:t>
            </a:r>
            <a:r>
              <a:rPr lang="en-US" dirty="0">
                <a:solidFill>
                  <a:srgbClr val="7030A0"/>
                </a:solidFill>
              </a:rPr>
              <a:t>more per box</a:t>
            </a:r>
          </a:p>
          <a:p>
            <a:r>
              <a:rPr lang="en-US" dirty="0" smtClean="0">
                <a:solidFill>
                  <a:srgbClr val="7030A0"/>
                </a:solidFill>
              </a:rPr>
              <a:t>Details:</a:t>
            </a:r>
          </a:p>
          <a:p>
            <a:pPr marL="342900" indent="-342900">
              <a:buFont typeface="Arial" panose="020B0604020202020204" pitchFamily="34" charset="0"/>
              <a:buChar char="•"/>
            </a:pPr>
            <a:r>
              <a:rPr lang="en-US" dirty="0" smtClean="0">
                <a:solidFill>
                  <a:srgbClr val="7030A0"/>
                </a:solidFill>
              </a:rPr>
              <a:t>The </a:t>
            </a:r>
            <a:r>
              <a:rPr lang="en-US" dirty="0" smtClean="0">
                <a:solidFill>
                  <a:schemeClr val="accent4"/>
                </a:solidFill>
              </a:rPr>
              <a:t>entire</a:t>
            </a:r>
            <a:r>
              <a:rPr lang="en-US" dirty="0" smtClean="0">
                <a:solidFill>
                  <a:srgbClr val="7030A0"/>
                </a:solidFill>
              </a:rPr>
              <a:t> troop must agree to not receive rewards and must sign the Opt Out form.</a:t>
            </a:r>
          </a:p>
          <a:p>
            <a:pPr marL="342900" indent="-342900">
              <a:buFont typeface="Arial" panose="020B0604020202020204" pitchFamily="34" charset="0"/>
              <a:buChar char="•"/>
            </a:pPr>
            <a:r>
              <a:rPr lang="en-US" dirty="0" smtClean="0">
                <a:solidFill>
                  <a:srgbClr val="7030A0"/>
                </a:solidFill>
              </a:rPr>
              <a:t>Opt Out Form must be submitted to Council by Feb 24</a:t>
            </a:r>
            <a:r>
              <a:rPr lang="en-US" baseline="30000" dirty="0" smtClean="0">
                <a:solidFill>
                  <a:srgbClr val="7030A0"/>
                </a:solidFill>
              </a:rPr>
              <a:t>th</a:t>
            </a:r>
            <a:r>
              <a:rPr lang="en-US" dirty="0" smtClean="0">
                <a:solidFill>
                  <a:srgbClr val="7030A0"/>
                </a:solidFill>
              </a:rPr>
              <a:t>.</a:t>
            </a:r>
          </a:p>
          <a:p>
            <a:pPr marL="342900" indent="-342900">
              <a:buFont typeface="Arial" panose="020B0604020202020204" pitchFamily="34" charset="0"/>
              <a:buChar char="•"/>
            </a:pPr>
            <a:r>
              <a:rPr lang="en-US" dirty="0" smtClean="0">
                <a:solidFill>
                  <a:srgbClr val="7030A0"/>
                </a:solidFill>
              </a:rPr>
              <a:t>Troops opting out will receive all the patches associated with </a:t>
            </a:r>
          </a:p>
          <a:p>
            <a:r>
              <a:rPr lang="en-US" dirty="0">
                <a:solidFill>
                  <a:srgbClr val="7030A0"/>
                </a:solidFill>
              </a:rPr>
              <a:t> </a:t>
            </a:r>
            <a:r>
              <a:rPr lang="en-US" dirty="0" smtClean="0">
                <a:solidFill>
                  <a:srgbClr val="7030A0"/>
                </a:solidFill>
              </a:rPr>
              <a:t>   levels on order card, but none of the other items.</a:t>
            </a:r>
          </a:p>
          <a:p>
            <a:pPr marL="342900" indent="-342900">
              <a:buFont typeface="Arial" panose="020B0604020202020204" pitchFamily="34" charset="0"/>
              <a:buChar char="•"/>
            </a:pPr>
            <a:r>
              <a:rPr lang="en-US" dirty="0" smtClean="0">
                <a:solidFill>
                  <a:srgbClr val="7030A0"/>
                </a:solidFill>
              </a:rPr>
              <a:t>Girl WILL receive $25 DSD at 150 package level (only).</a:t>
            </a:r>
          </a:p>
          <a:p>
            <a:pPr marL="342900" indent="-342900">
              <a:buFont typeface="Arial" panose="020B0604020202020204" pitchFamily="34" charset="0"/>
              <a:buChar char="•"/>
            </a:pPr>
            <a:r>
              <a:rPr lang="en-US" dirty="0" smtClean="0">
                <a:solidFill>
                  <a:srgbClr val="7030A0"/>
                </a:solidFill>
              </a:rPr>
              <a:t>If troop doesn’t attain a 150 PGA, troop will receive rewards as shown on order card</a:t>
            </a:r>
            <a:endParaRPr lang="en-US" dirty="0">
              <a:solidFill>
                <a:srgbClr val="7030A0"/>
              </a:solidFill>
            </a:endParaRPr>
          </a:p>
        </p:txBody>
      </p:sp>
      <p:sp>
        <p:nvSpPr>
          <p:cNvPr id="7" name="Explosion 2 6"/>
          <p:cNvSpPr/>
          <p:nvPr/>
        </p:nvSpPr>
        <p:spPr>
          <a:xfrm rot="2871353">
            <a:off x="9694449" y="3282072"/>
            <a:ext cx="2413877" cy="2063197"/>
          </a:xfrm>
          <a:prstGeom prst="irregularSeal2">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rot="807232">
            <a:off x="10050087" y="3840480"/>
            <a:ext cx="1446413" cy="707886"/>
          </a:xfrm>
          <a:prstGeom prst="rect">
            <a:avLst/>
          </a:prstGeom>
          <a:noFill/>
        </p:spPr>
        <p:txBody>
          <a:bodyPr wrap="square" rtlCol="0">
            <a:spAutoFit/>
          </a:bodyPr>
          <a:lstStyle/>
          <a:p>
            <a:r>
              <a:rPr lang="en-US" sz="4000" dirty="0" smtClean="0"/>
              <a:t>New!</a:t>
            </a:r>
            <a:endParaRPr lang="en-US" sz="4000" dirty="0"/>
          </a:p>
        </p:txBody>
      </p:sp>
    </p:spTree>
    <p:extLst>
      <p:ext uri="{BB962C8B-B14F-4D97-AF65-F5344CB8AC3E}">
        <p14:creationId xmlns:p14="http://schemas.microsoft.com/office/powerpoint/2010/main" val="17303570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352502"/>
            <a:ext cx="2475115" cy="2369160"/>
          </a:xfrm>
        </p:spPr>
        <p:txBody>
          <a:bodyPr/>
          <a:lstStyle/>
          <a:p>
            <a:endParaRPr lang="en-US" dirty="0"/>
          </a:p>
        </p:txBody>
      </p:sp>
      <p:graphicFrame>
        <p:nvGraphicFramePr>
          <p:cNvPr id="4" name="Object 3"/>
          <p:cNvGraphicFramePr>
            <a:graphicFrameLocks noChangeAspect="1"/>
          </p:cNvGraphicFramePr>
          <p:nvPr>
            <p:extLst/>
          </p:nvPr>
        </p:nvGraphicFramePr>
        <p:xfrm>
          <a:off x="342900" y="264679"/>
          <a:ext cx="4664075" cy="6034088"/>
        </p:xfrm>
        <a:graphic>
          <a:graphicData uri="http://schemas.openxmlformats.org/presentationml/2006/ole">
            <mc:AlternateContent xmlns:mc="http://schemas.openxmlformats.org/markup-compatibility/2006">
              <mc:Choice xmlns:v="urn:schemas-microsoft-com:vml" Requires="v">
                <p:oleObj spid="_x0000_s4110" name="Acrobat Document" r:id="rId3" imgW="4663440" imgH="6034757" progId="Acrobat.Document.DC">
                  <p:embed/>
                </p:oleObj>
              </mc:Choice>
              <mc:Fallback>
                <p:oleObj name="Acrobat Document" r:id="rId3" imgW="4663440" imgH="6034757" progId="Acrobat.Document.DC">
                  <p:embed/>
                  <p:pic>
                    <p:nvPicPr>
                      <p:cNvPr id="4" name="Object 3"/>
                      <p:cNvPicPr/>
                      <p:nvPr/>
                    </p:nvPicPr>
                    <p:blipFill>
                      <a:blip r:embed="rId4"/>
                      <a:stretch>
                        <a:fillRect/>
                      </a:stretch>
                    </p:blipFill>
                    <p:spPr>
                      <a:xfrm>
                        <a:off x="342900" y="264679"/>
                        <a:ext cx="4664075" cy="6034088"/>
                      </a:xfrm>
                      <a:prstGeom prst="rect">
                        <a:avLst/>
                      </a:prstGeom>
                    </p:spPr>
                  </p:pic>
                </p:oleObj>
              </mc:Fallback>
            </mc:AlternateContent>
          </a:graphicData>
        </a:graphic>
      </p:graphicFrame>
    </p:spTree>
    <p:extLst>
      <p:ext uri="{BB962C8B-B14F-4D97-AF65-F5344CB8AC3E}">
        <p14:creationId xmlns:p14="http://schemas.microsoft.com/office/powerpoint/2010/main" val="11073893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CCC2-6608-410B-BF48-63A339DB9720}"/>
              </a:ext>
            </a:extLst>
          </p:cNvPr>
          <p:cNvSpPr>
            <a:spLocks noGrp="1"/>
          </p:cNvSpPr>
          <p:nvPr>
            <p:ph type="title"/>
          </p:nvPr>
        </p:nvSpPr>
        <p:spPr/>
        <p:txBody>
          <a:bodyPr/>
          <a:lstStyle/>
          <a:p>
            <a:r>
              <a:rPr lang="en-US" dirty="0"/>
              <a:t>UNIQUE REWARDS for a bright new season </a:t>
            </a:r>
          </a:p>
        </p:txBody>
      </p:sp>
      <p:sp>
        <p:nvSpPr>
          <p:cNvPr id="4" name="Content Placeholder 2">
            <a:extLst>
              <a:ext uri="{FF2B5EF4-FFF2-40B4-BE49-F238E27FC236}">
                <a16:creationId xmlns:a16="http://schemas.microsoft.com/office/drawing/2014/main" id="{0B38F4F1-BC74-44B0-81D7-3C6C20FF6D30}"/>
              </a:ext>
            </a:extLst>
          </p:cNvPr>
          <p:cNvSpPr txBox="1">
            <a:spLocks/>
          </p:cNvSpPr>
          <p:nvPr/>
        </p:nvSpPr>
        <p:spPr>
          <a:xfrm>
            <a:off x="769927" y="1416502"/>
            <a:ext cx="10046825" cy="3305135"/>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A0A0A"/>
                </a:solidFill>
                <a:effectLst/>
                <a:highlight>
                  <a:srgbClr val="FFFF00"/>
                </a:highlight>
                <a:uLnTx/>
                <a:uFillTx/>
                <a:latin typeface="Open Sans" panose="020B0606030504020204" pitchFamily="34" charset="0"/>
              </a:rPr>
              <a:t>COUNCIL insert your Rewards Panel here</a:t>
            </a:r>
            <a:endParaRPr kumimoji="0" lang="en-US" sz="2000" b="1" i="0" u="none" strike="noStrike" kern="1200" cap="none" spc="0" normalizeH="0" baseline="0" noProof="0" dirty="0">
              <a:ln>
                <a:noFill/>
              </a:ln>
              <a:solidFill>
                <a:srgbClr val="0A0A0A"/>
              </a:solidFill>
              <a:effectLst/>
              <a:highlight>
                <a:srgbClr val="FFFF00"/>
              </a:highlight>
              <a:uLnTx/>
              <a:uFillTx/>
              <a:latin typeface="Open Sans" panose="020B0606030504020204" pitchFamily="34" charset="0"/>
            </a:endParaRPr>
          </a:p>
        </p:txBody>
      </p:sp>
      <p:graphicFrame>
        <p:nvGraphicFramePr>
          <p:cNvPr id="5" name="Object 4"/>
          <p:cNvGraphicFramePr>
            <a:graphicFrameLocks noChangeAspect="1"/>
          </p:cNvGraphicFramePr>
          <p:nvPr>
            <p:extLst/>
          </p:nvPr>
        </p:nvGraphicFramePr>
        <p:xfrm>
          <a:off x="769927" y="651662"/>
          <a:ext cx="5165360" cy="4980694"/>
        </p:xfrm>
        <a:graphic>
          <a:graphicData uri="http://schemas.openxmlformats.org/presentationml/2006/ole">
            <mc:AlternateContent xmlns:mc="http://schemas.openxmlformats.org/markup-compatibility/2006">
              <mc:Choice xmlns:v="urn:schemas-microsoft-com:vml" Requires="v">
                <p:oleObj spid="_x0000_s3088" name="Acrobat Document" r:id="rId4" imgW="6171987" imgH="5951189" progId="AcroExch.Document.DC">
                  <p:embed/>
                </p:oleObj>
              </mc:Choice>
              <mc:Fallback>
                <p:oleObj name="Acrobat Document" r:id="rId4" imgW="6171987" imgH="5951189" progId="AcroExch.Document.DC">
                  <p:embed/>
                  <p:pic>
                    <p:nvPicPr>
                      <p:cNvPr id="5" name="Object 4"/>
                      <p:cNvPicPr/>
                      <p:nvPr/>
                    </p:nvPicPr>
                    <p:blipFill>
                      <a:blip r:embed="rId5"/>
                      <a:stretch>
                        <a:fillRect/>
                      </a:stretch>
                    </p:blipFill>
                    <p:spPr>
                      <a:xfrm>
                        <a:off x="769927" y="651662"/>
                        <a:ext cx="5165360" cy="4980694"/>
                      </a:xfrm>
                      <a:prstGeom prst="rect">
                        <a:avLst/>
                      </a:prstGeom>
                    </p:spPr>
                  </p:pic>
                </p:oleObj>
              </mc:Fallback>
            </mc:AlternateContent>
          </a:graphicData>
        </a:graphic>
      </p:graphicFrame>
      <p:sp>
        <p:nvSpPr>
          <p:cNvPr id="6" name="TextBox 5"/>
          <p:cNvSpPr txBox="1"/>
          <p:nvPr/>
        </p:nvSpPr>
        <p:spPr>
          <a:xfrm>
            <a:off x="6476615" y="1987847"/>
            <a:ext cx="4039985" cy="2308324"/>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Fun, new charm patches for DOC sales, 125+, 150 packag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Dough Si Dough option starting at 150 package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New Opt out option for </a:t>
            </a:r>
            <a:r>
              <a:rPr kumimoji="0" lang="en-US" sz="1800" b="1" i="0" u="none" strike="noStrike" kern="1200" cap="none" spc="0" normalizeH="0" baseline="0" noProof="0" dirty="0" err="1" smtClean="0">
                <a:ln>
                  <a:noFill/>
                </a:ln>
                <a:solidFill>
                  <a:srgbClr val="7030A0"/>
                </a:solidFill>
                <a:effectLst/>
                <a:uLnTx/>
                <a:uFillTx/>
                <a:latin typeface="Century Gothic" panose="020B0502020202020204" pitchFamily="34" charset="0"/>
                <a:ea typeface="+mn-ea"/>
                <a:cs typeface="+mn-cs"/>
              </a:rPr>
              <a:t>Cadettes</a:t>
            </a:r>
            <a:r>
              <a:rPr kumimoji="0" lang="en-US" sz="1800" b="1" i="0" u="none" strike="noStrike" kern="1200" cap="none" spc="0" normalizeH="0" baseline="0" noProof="0" dirty="0" smtClean="0">
                <a:ln>
                  <a:noFill/>
                </a:ln>
                <a:solidFill>
                  <a:srgbClr val="7030A0"/>
                </a:solidFill>
                <a:effectLst/>
                <a:uLnTx/>
                <a:uFillTx/>
                <a:latin typeface="Century Gothic" panose="020B0502020202020204" pitchFamily="34" charset="0"/>
                <a:ea typeface="+mn-ea"/>
                <a:cs typeface="+mn-cs"/>
              </a:rPr>
              <a:t>, Seniors, Ambassadors</a:t>
            </a:r>
            <a:endParaRPr kumimoji="0" lang="en-US" sz="1800" b="1" i="0" u="none" strike="noStrike" kern="1200" cap="none" spc="0" normalizeH="0" baseline="0" noProof="0" dirty="0">
              <a:ln>
                <a:noFill/>
              </a:ln>
              <a:solidFill>
                <a:srgbClr val="7030A0"/>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920785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04673" y="713232"/>
            <a:ext cx="9363456" cy="1152144"/>
          </a:xfrm>
        </p:spPr>
        <p:txBody>
          <a:bodyPr/>
          <a:lstStyle/>
          <a:p>
            <a:pPr algn="ctr"/>
            <a:r>
              <a:rPr lang="en-US" sz="9600" dirty="0" smtClean="0"/>
              <a:t>Questions </a:t>
            </a:r>
            <a:endParaRPr lang="en-US" sz="9600" dirty="0"/>
          </a:p>
        </p:txBody>
      </p:sp>
      <p:pic>
        <p:nvPicPr>
          <p:cNvPr id="4" name="Picture 3">
            <a:extLst>
              <a:ext uri="{FF2B5EF4-FFF2-40B4-BE49-F238E27FC236}">
                <a16:creationId xmlns:a16="http://schemas.microsoft.com/office/drawing/2014/main" id="{B86AE082-258D-487B-A008-C7A863E80292}"/>
              </a:ext>
            </a:extLst>
          </p:cNvPr>
          <p:cNvPicPr>
            <a:picLocks noChangeAspect="1"/>
          </p:cNvPicPr>
          <p:nvPr/>
        </p:nvPicPr>
        <p:blipFill>
          <a:blip r:embed="rId2"/>
          <a:stretch>
            <a:fillRect/>
          </a:stretch>
        </p:blipFill>
        <p:spPr>
          <a:xfrm>
            <a:off x="4187952" y="1996391"/>
            <a:ext cx="3225746" cy="3727753"/>
          </a:xfrm>
          <a:prstGeom prst="rect">
            <a:avLst/>
          </a:prstGeom>
        </p:spPr>
      </p:pic>
    </p:spTree>
    <p:extLst>
      <p:ext uri="{BB962C8B-B14F-4D97-AF65-F5344CB8AC3E}">
        <p14:creationId xmlns:p14="http://schemas.microsoft.com/office/powerpoint/2010/main" val="29079633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Open Sans" panose="020B0606030504020204" pitchFamily="34" charset="0"/>
              </a:rPr>
              <a:t>CONFIDENTIAL &amp; PROPRIETARY</a:t>
            </a:r>
            <a:endParaRPr kumimoji="0" lang="en-US" sz="1000" b="0" i="0" u="none" strike="noStrike" kern="1200" cap="none" spc="0" normalizeH="0" baseline="0" noProof="0" dirty="0">
              <a:ln>
                <a:noFill/>
              </a:ln>
              <a:solidFill>
                <a:srgbClr val="000000">
                  <a:lumMod val="50000"/>
                  <a:lumOff val="50000"/>
                </a:srgbClr>
              </a:solidFill>
              <a:effectLst/>
              <a:uLnTx/>
              <a:uFillTx/>
              <a:latin typeface="Open Sans" panose="020B0606030504020204" pitchFamily="34" charset="0"/>
            </a:endParaRPr>
          </a:p>
        </p:txBody>
      </p:sp>
      <p:pic>
        <p:nvPicPr>
          <p:cNvPr id="7" name="Picture 6" descr="Chart&#10;&#10;Description automatically generated">
            <a:extLst>
              <a:ext uri="{FF2B5EF4-FFF2-40B4-BE49-F238E27FC236}">
                <a16:creationId xmlns:a16="http://schemas.microsoft.com/office/drawing/2014/main" id="{BCF19186-9348-0B45-AD86-76BB1A8CC06C}"/>
              </a:ext>
            </a:extLst>
          </p:cNvPr>
          <p:cNvPicPr>
            <a:picLocks noChangeAspect="1"/>
          </p:cNvPicPr>
          <p:nvPr/>
        </p:nvPicPr>
        <p:blipFill>
          <a:blip r:embed="rId3"/>
          <a:stretch>
            <a:fillRect/>
          </a:stretch>
        </p:blipFill>
        <p:spPr>
          <a:xfrm>
            <a:off x="422788" y="1686727"/>
            <a:ext cx="3420171" cy="34201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Rectangle 8"/>
          <p:cNvSpPr/>
          <p:nvPr/>
        </p:nvSpPr>
        <p:spPr>
          <a:xfrm>
            <a:off x="4070464" y="1870331"/>
            <a:ext cx="6744393" cy="3416320"/>
          </a:xfrm>
          <a:prstGeom prst="rect">
            <a:avLst/>
          </a:prstGeom>
        </p:spPr>
        <p:txBody>
          <a:bodyPr wrap="square">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Troops must have a bank account to participat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Troops must have an ACH authorization on file</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SUCCs are responsible for ensuring that troop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      have a zero balance by sale’s end</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Troops with a balance from last year will not b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4987"/>
                </a:solidFill>
                <a:effectLst/>
                <a:uLnTx/>
                <a:uFillTx/>
                <a:latin typeface="Calibri" panose="020F0502020204030204"/>
                <a:ea typeface="+mn-ea"/>
                <a:cs typeface="+mn-cs"/>
              </a:rPr>
              <a:t>       permitted to participate in 2023</a:t>
            </a:r>
          </a:p>
        </p:txBody>
      </p:sp>
      <p:sp>
        <p:nvSpPr>
          <p:cNvPr id="10" name="Rectangle 9"/>
          <p:cNvSpPr/>
          <p:nvPr/>
        </p:nvSpPr>
        <p:spPr>
          <a:xfrm>
            <a:off x="422788" y="216749"/>
            <a:ext cx="3073918" cy="646331"/>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80C5">
                    <a:lumMod val="75000"/>
                  </a:srgbClr>
                </a:solidFill>
                <a:effectLst/>
                <a:uLnTx/>
                <a:uFillTx/>
                <a:latin typeface="Calibri" panose="020F0502020204030204"/>
                <a:ea typeface="+mn-ea"/>
                <a:cs typeface="+mn-cs"/>
              </a:rPr>
              <a:t>Money Matters</a:t>
            </a:r>
          </a:p>
        </p:txBody>
      </p:sp>
      <p:sp>
        <p:nvSpPr>
          <p:cNvPr id="11" name="Rectangle 10"/>
          <p:cNvSpPr/>
          <p:nvPr/>
        </p:nvSpPr>
        <p:spPr>
          <a:xfrm>
            <a:off x="422788" y="863080"/>
            <a:ext cx="4864665" cy="58477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8981E"/>
                </a:solidFill>
                <a:effectLst/>
                <a:uLnTx/>
                <a:uFillTx/>
                <a:latin typeface="Calibri" panose="020F0502020204030204"/>
                <a:ea typeface="+mn-ea"/>
                <a:cs typeface="+mn-cs"/>
              </a:rPr>
              <a:t>Bank accounts and Balances</a:t>
            </a:r>
          </a:p>
        </p:txBody>
      </p:sp>
    </p:spTree>
    <p:extLst>
      <p:ext uri="{BB962C8B-B14F-4D97-AF65-F5344CB8AC3E}">
        <p14:creationId xmlns:p14="http://schemas.microsoft.com/office/powerpoint/2010/main" val="1036648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5B5BAB-6D4B-4D85-8CD5-966541042DEE}"/>
              </a:ext>
            </a:extLst>
          </p:cNvPr>
          <p:cNvSpPr>
            <a:spLocks noGrp="1"/>
          </p:cNvSpPr>
          <p:nvPr>
            <p:ph type="title"/>
          </p:nvPr>
        </p:nvSpPr>
        <p:spPr>
          <a:xfrm>
            <a:off x="2247397" y="914400"/>
            <a:ext cx="9327217" cy="2671482"/>
          </a:xfrm>
        </p:spPr>
        <p:txBody>
          <a:bodyPr/>
          <a:lstStyle/>
          <a:p>
            <a:pPr algn="ctr"/>
            <a:r>
              <a:rPr lang="en-US" sz="5400" dirty="0" smtClean="0">
                <a:solidFill>
                  <a:srgbClr val="7030A0"/>
                </a:solidFill>
              </a:rPr>
              <a:t>ACH dates</a:t>
            </a:r>
            <a:br>
              <a:rPr lang="en-US" sz="5400" dirty="0" smtClean="0">
                <a:solidFill>
                  <a:srgbClr val="7030A0"/>
                </a:solidFill>
              </a:rPr>
            </a:br>
            <a:r>
              <a:rPr lang="en-US" sz="4800" dirty="0" smtClean="0"/>
              <a:t/>
            </a:r>
            <a:br>
              <a:rPr lang="en-US" sz="4800" dirty="0" smtClean="0"/>
            </a:br>
            <a:r>
              <a:rPr lang="en-US" sz="3600" dirty="0" smtClean="0"/>
              <a:t>May 11</a:t>
            </a:r>
            <a:r>
              <a:rPr lang="en-US" sz="3600" baseline="30000" dirty="0" smtClean="0"/>
              <a:t>th</a:t>
            </a:r>
            <a:r>
              <a:rPr lang="en-US" sz="3600" dirty="0" smtClean="0"/>
              <a:t> - 1</a:t>
            </a:r>
            <a:r>
              <a:rPr lang="en-US" sz="3600" baseline="30000" dirty="0" smtClean="0"/>
              <a:t>st</a:t>
            </a:r>
            <a:r>
              <a:rPr lang="en-US" sz="3600" dirty="0" smtClean="0"/>
              <a:t> ACH 1/3 amount owed</a:t>
            </a:r>
            <a:br>
              <a:rPr lang="en-US" sz="3600" dirty="0" smtClean="0"/>
            </a:br>
            <a:r>
              <a:rPr lang="en-US" sz="3600" dirty="0" smtClean="0"/>
              <a:t/>
            </a:r>
            <a:br>
              <a:rPr lang="en-US" sz="3600" dirty="0" smtClean="0"/>
            </a:br>
            <a:r>
              <a:rPr lang="en-US" sz="3600" dirty="0" smtClean="0"/>
              <a:t>May 25</a:t>
            </a:r>
            <a:r>
              <a:rPr lang="en-US" sz="3600" baseline="30000" dirty="0" smtClean="0"/>
              <a:t>th</a:t>
            </a:r>
            <a:r>
              <a:rPr lang="en-US" sz="3600" dirty="0" smtClean="0"/>
              <a:t> - 2</a:t>
            </a:r>
            <a:r>
              <a:rPr lang="en-US" sz="3600" baseline="30000" dirty="0" smtClean="0"/>
              <a:t>nd</a:t>
            </a:r>
            <a:r>
              <a:rPr lang="en-US" sz="3600" dirty="0" smtClean="0"/>
              <a:t> ACH 1/3 amount owed</a:t>
            </a:r>
            <a:br>
              <a:rPr lang="en-US" sz="3600" dirty="0" smtClean="0"/>
            </a:br>
            <a:r>
              <a:rPr lang="en-US" sz="3600" dirty="0" smtClean="0"/>
              <a:t/>
            </a:r>
            <a:br>
              <a:rPr lang="en-US" sz="3600" dirty="0" smtClean="0"/>
            </a:br>
            <a:r>
              <a:rPr lang="en-US" sz="3600" dirty="0" smtClean="0"/>
              <a:t>June 8</a:t>
            </a:r>
            <a:r>
              <a:rPr lang="en-US" sz="3600" baseline="30000" dirty="0" smtClean="0"/>
              <a:t>th</a:t>
            </a:r>
            <a:r>
              <a:rPr lang="en-US" sz="3600" dirty="0" smtClean="0"/>
              <a:t> 3</a:t>
            </a:r>
            <a:r>
              <a:rPr lang="en-US" sz="3600" baseline="30000" dirty="0" smtClean="0"/>
              <a:t>rd</a:t>
            </a:r>
            <a:r>
              <a:rPr lang="en-US" sz="3600" dirty="0" smtClean="0"/>
              <a:t> - ACH remaining balance</a:t>
            </a:r>
            <a:endParaRPr lang="en-US" sz="3600" dirty="0"/>
          </a:p>
        </p:txBody>
      </p:sp>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lumMod val="50000"/>
                    <a:lumOff val="50000"/>
                  </a:srgbClr>
                </a:solidFill>
                <a:effectLst/>
                <a:uLnTx/>
                <a:uFillTx/>
                <a:latin typeface="Open Sans" panose="020B0606030504020204" pitchFamily="34" charset="0"/>
              </a:rPr>
              <a:t>CONFIDENTIAL &amp; PROPRIETARY</a:t>
            </a:r>
            <a:endParaRPr kumimoji="0" lang="en-US" sz="1000" b="0" i="0" u="none" strike="noStrike" kern="1200" cap="none" spc="0" normalizeH="0" baseline="0" noProof="0" dirty="0">
              <a:ln>
                <a:noFill/>
              </a:ln>
              <a:solidFill>
                <a:srgbClr val="000000">
                  <a:lumMod val="50000"/>
                  <a:lumOff val="50000"/>
                </a:srgbClr>
              </a:solidFill>
              <a:effectLst/>
              <a:uLnTx/>
              <a:uFillTx/>
              <a:latin typeface="Open Sans" panose="020B060603050402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957" y="177053"/>
            <a:ext cx="1800225" cy="5715000"/>
          </a:xfrm>
          <a:prstGeom prst="rect">
            <a:avLst/>
          </a:prstGeom>
        </p:spPr>
      </p:pic>
    </p:spTree>
    <p:extLst>
      <p:ext uri="{BB962C8B-B14F-4D97-AF65-F5344CB8AC3E}">
        <p14:creationId xmlns:p14="http://schemas.microsoft.com/office/powerpoint/2010/main" val="26590296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May be an image of 5 people, people standing and outdoor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066089">
            <a:off x="314162" y="410502"/>
            <a:ext cx="2281629" cy="20534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May be an image of 2 people and indoo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26731" y="246393"/>
            <a:ext cx="2445930" cy="230877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May be an image of one or more people and people standi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653887">
            <a:off x="8731657" y="491849"/>
            <a:ext cx="2797175" cy="21031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rot="10800000" flipV="1">
            <a:off x="1389888" y="2866070"/>
            <a:ext cx="9692640" cy="1015663"/>
          </a:xfrm>
          <a:prstGeom prst="rect">
            <a:avLst/>
          </a:prstGeom>
        </p:spPr>
        <p:txBody>
          <a:bodyPr wrap="square">
            <a:spAutoFit/>
          </a:bodyPr>
          <a:lstStyle/>
          <a:p>
            <a:pPr lvl="0" algn="ctr"/>
            <a:r>
              <a:rPr lang="en-US" altLang="en-US" sz="6000" b="1" dirty="0">
                <a:solidFill>
                  <a:srgbClr val="0070C0"/>
                </a:solidFill>
                <a:latin typeface="Girl Scout Text Medium" panose="02020003000000000000" pitchFamily="18" charset="0"/>
              </a:rPr>
              <a:t>Operation Cookie Drop</a:t>
            </a:r>
            <a:endParaRPr lang="en-US" sz="6000" dirty="0">
              <a:solidFill>
                <a:prstClr val="black"/>
              </a:solidFill>
              <a:latin typeface="Girl Scout Text Medium" panose="02020003000000000000" pitchFamily="18" charset="0"/>
            </a:endParaRPr>
          </a:p>
        </p:txBody>
      </p:sp>
      <p:sp>
        <p:nvSpPr>
          <p:cNvPr id="9" name="Rectangle 8"/>
          <p:cNvSpPr/>
          <p:nvPr/>
        </p:nvSpPr>
        <p:spPr>
          <a:xfrm>
            <a:off x="3573377" y="3682626"/>
            <a:ext cx="9023685" cy="2013037"/>
          </a:xfrm>
          <a:prstGeom prst="rect">
            <a:avLst/>
          </a:prstGeom>
        </p:spPr>
        <p:txBody>
          <a:bodyPr wrap="square">
            <a:spAutoFit/>
          </a:bodyPr>
          <a:lstStyle/>
          <a:p>
            <a:pPr marL="342900" indent="-342900">
              <a:spcBef>
                <a:spcPct val="0"/>
              </a:spcBef>
              <a:buFont typeface="Arial" panose="020B0604020202020204" pitchFamily="34" charset="0"/>
              <a:buChar char="•"/>
            </a:pPr>
            <a:r>
              <a:rPr lang="en-US" altLang="en-US" b="1" dirty="0">
                <a:solidFill>
                  <a:srgbClr val="00B050"/>
                </a:solidFill>
                <a:latin typeface="Girl Scout Text Medium" panose="02020003000000000000" pitchFamily="18" charset="0"/>
              </a:rPr>
              <a:t>Girls sold over </a:t>
            </a:r>
            <a:r>
              <a:rPr lang="en-US" altLang="en-US" b="1" dirty="0" smtClean="0">
                <a:solidFill>
                  <a:srgbClr val="00B050"/>
                </a:solidFill>
                <a:latin typeface="Girl Scout Text Medium" panose="02020003000000000000" pitchFamily="18" charset="0"/>
              </a:rPr>
              <a:t>100,000 </a:t>
            </a:r>
            <a:r>
              <a:rPr lang="en-US" altLang="en-US" b="1" dirty="0">
                <a:solidFill>
                  <a:srgbClr val="00B050"/>
                </a:solidFill>
                <a:latin typeface="Girl Scout Text Medium" panose="02020003000000000000" pitchFamily="18" charset="0"/>
              </a:rPr>
              <a:t>packages last year</a:t>
            </a:r>
          </a:p>
          <a:p>
            <a:pPr algn="ctr">
              <a:spcBef>
                <a:spcPct val="0"/>
              </a:spcBef>
            </a:pPr>
            <a:endParaRPr lang="en-US" altLang="en-US" b="1" dirty="0">
              <a:solidFill>
                <a:srgbClr val="00B050"/>
              </a:solidFill>
              <a:latin typeface="Girl Scout Text Medium" panose="02020003000000000000" pitchFamily="18" charset="0"/>
            </a:endParaRPr>
          </a:p>
          <a:p>
            <a:pPr marL="342900" indent="-342900">
              <a:spcBef>
                <a:spcPct val="0"/>
              </a:spcBef>
              <a:buFont typeface="Arial" panose="020B0604020202020204" pitchFamily="34" charset="0"/>
              <a:buChar char="•"/>
            </a:pPr>
            <a:r>
              <a:rPr lang="en-US" altLang="en-US" b="1" dirty="0">
                <a:solidFill>
                  <a:srgbClr val="00B050"/>
                </a:solidFill>
                <a:latin typeface="Girl Scout Text Medium" panose="02020003000000000000" pitchFamily="18" charset="0"/>
              </a:rPr>
              <a:t>Encourage troops to ask for donations to Operation Cookie Drop </a:t>
            </a:r>
          </a:p>
          <a:p>
            <a:pPr algn="ctr">
              <a:spcBef>
                <a:spcPct val="0"/>
              </a:spcBef>
            </a:pPr>
            <a:endParaRPr lang="en-US" altLang="en-US" b="1" dirty="0">
              <a:solidFill>
                <a:srgbClr val="00B050"/>
              </a:solidFill>
              <a:latin typeface="Girl Scout Text Medium" panose="02020003000000000000" pitchFamily="18" charset="0"/>
            </a:endParaRPr>
          </a:p>
          <a:p>
            <a:pPr marL="342900" indent="-342900">
              <a:spcBef>
                <a:spcPct val="0"/>
              </a:spcBef>
              <a:buFont typeface="Arial" panose="020B0604020202020204" pitchFamily="34" charset="0"/>
              <a:buChar char="•"/>
            </a:pPr>
            <a:r>
              <a:rPr lang="en-US" altLang="en-US" b="1" dirty="0">
                <a:solidFill>
                  <a:srgbClr val="00B050"/>
                </a:solidFill>
                <a:latin typeface="Girl Scout Text Medium" panose="02020003000000000000" pitchFamily="18" charset="0"/>
              </a:rPr>
              <a:t>Troops can share their Troop Digital Cookie Link for donations</a:t>
            </a:r>
          </a:p>
          <a:p>
            <a:pPr algn="ctr">
              <a:spcBef>
                <a:spcPct val="0"/>
              </a:spcBef>
            </a:pPr>
            <a:endParaRPr lang="en-US" altLang="en-US" b="1" dirty="0">
              <a:solidFill>
                <a:srgbClr val="00B050"/>
              </a:solidFill>
              <a:latin typeface="Girl Scout Text Medium" panose="02020003000000000000" pitchFamily="18" charset="0"/>
            </a:endParaRPr>
          </a:p>
          <a:p>
            <a:pPr marL="342900" indent="-342900">
              <a:spcBef>
                <a:spcPct val="0"/>
              </a:spcBef>
              <a:buFont typeface="Arial" panose="020B0604020202020204" pitchFamily="34" charset="0"/>
              <a:buChar char="•"/>
            </a:pPr>
            <a:r>
              <a:rPr lang="en-US" altLang="en-US" b="1" dirty="0">
                <a:solidFill>
                  <a:srgbClr val="00B050"/>
                </a:solidFill>
                <a:latin typeface="Girl Scout Text Medium" panose="02020003000000000000" pitchFamily="18" charset="0"/>
              </a:rPr>
              <a:t>Load-In Event is TBD</a:t>
            </a:r>
          </a:p>
        </p:txBody>
      </p:sp>
    </p:spTree>
    <p:extLst>
      <p:ext uri="{BB962C8B-B14F-4D97-AF65-F5344CB8AC3E}">
        <p14:creationId xmlns:p14="http://schemas.microsoft.com/office/powerpoint/2010/main" val="30513964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Graphic 33">
            <a:extLst>
              <a:ext uri="{FF2B5EF4-FFF2-40B4-BE49-F238E27FC236}">
                <a16:creationId xmlns:a16="http://schemas.microsoft.com/office/drawing/2014/main" id="{F704D24C-56D4-6317-146B-E40A1BBBE785}"/>
              </a:ext>
            </a:extLst>
          </p:cNvPr>
          <p:cNvPicPr>
            <a:picLocks noChangeAspect="1"/>
          </p:cNvPicPr>
          <p:nvPr/>
        </p:nvPicPr>
        <p:blipFill rotWithShape="1">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rcRect t="15982" b="20940"/>
          <a:stretch/>
        </p:blipFill>
        <p:spPr>
          <a:xfrm>
            <a:off x="-1259471" y="925585"/>
            <a:ext cx="14067532" cy="8873482"/>
          </a:xfrm>
          <a:prstGeom prst="rect">
            <a:avLst/>
          </a:prstGeom>
        </p:spPr>
      </p:pic>
      <p:pic>
        <p:nvPicPr>
          <p:cNvPr id="35" name="Picture 34" descr="A picture containing drawing&#10;&#10;Description automatically generated">
            <a:extLst>
              <a:ext uri="{FF2B5EF4-FFF2-40B4-BE49-F238E27FC236}">
                <a16:creationId xmlns:a16="http://schemas.microsoft.com/office/drawing/2014/main" id="{DDC9DD98-EA48-9A3E-774C-E370017E195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858500" y="228600"/>
            <a:ext cx="1165225" cy="229514"/>
          </a:xfrm>
          <a:prstGeom prst="rect">
            <a:avLst/>
          </a:prstGeom>
        </p:spPr>
      </p:pic>
      <p:pic>
        <p:nvPicPr>
          <p:cNvPr id="14" name="Picture 13">
            <a:extLst>
              <a:ext uri="{FF2B5EF4-FFF2-40B4-BE49-F238E27FC236}">
                <a16:creationId xmlns:a16="http://schemas.microsoft.com/office/drawing/2014/main" id="{60EE7449-013C-C4DF-1D18-95F17897E3FE}"/>
              </a:ext>
            </a:extLst>
          </p:cNvPr>
          <p:cNvPicPr>
            <a:picLocks noChangeAspect="1"/>
          </p:cNvPicPr>
          <p:nvPr/>
        </p:nvPicPr>
        <p:blipFill>
          <a:blip r:embed="rId6"/>
          <a:stretch>
            <a:fillRect/>
          </a:stretch>
        </p:blipFill>
        <p:spPr>
          <a:xfrm>
            <a:off x="0" y="5626104"/>
            <a:ext cx="12204357" cy="1257296"/>
          </a:xfrm>
          <a:prstGeom prst="rect">
            <a:avLst/>
          </a:prstGeom>
        </p:spPr>
      </p:pic>
      <p:sp>
        <p:nvSpPr>
          <p:cNvPr id="15" name="Slide Number Placeholder 4">
            <a:extLst>
              <a:ext uri="{FF2B5EF4-FFF2-40B4-BE49-F238E27FC236}">
                <a16:creationId xmlns:a16="http://schemas.microsoft.com/office/drawing/2014/main" id="{724C60D7-B17A-9147-19BF-0A458EBA12C2}"/>
              </a:ext>
            </a:extLst>
          </p:cNvPr>
          <p:cNvSpPr txBox="1">
            <a:spLocks/>
          </p:cNvSpPr>
          <p:nvPr/>
        </p:nvSpPr>
        <p:spPr>
          <a:xfrm>
            <a:off x="11195050" y="6298402"/>
            <a:ext cx="749300" cy="322265"/>
          </a:xfrm>
          <a:prstGeom prst="rect">
            <a:avLst/>
          </a:prstGeom>
        </p:spPr>
        <p:txBody>
          <a:bodyPr lIns="0" tIns="0" rIns="0" bIns="0" anchor="b"/>
          <a:lstStyle>
            <a:defPPr>
              <a:defRPr lang="en-US"/>
            </a:defPPr>
            <a:lvl1pPr marL="0" algn="r" defTabSz="457200" rtl="0" eaLnBrk="1" latinLnBrk="0" hangingPunct="1">
              <a:defRPr sz="1400" kern="1200">
                <a:solidFill>
                  <a:schemeClr val="tx1">
                    <a:lumMod val="50000"/>
                    <a:lumOff val="5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C1CC9D4-B77B-4D62-AC93-E2BD36A15066}" type="slidenum">
              <a:rPr kumimoji="0" lang="en-IN" sz="1000" b="0" i="0" u="none" strike="noStrike" kern="1200" cap="none" spc="0" normalizeH="0" baseline="0" noProof="0" smtClean="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11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pic>
        <p:nvPicPr>
          <p:cNvPr id="4" name="Picture 3"/>
          <p:cNvPicPr>
            <a:picLocks noChangeAspect="1"/>
          </p:cNvPicPr>
          <p:nvPr/>
        </p:nvPicPr>
        <p:blipFill>
          <a:blip r:embed="rId7"/>
          <a:stretch>
            <a:fillRect/>
          </a:stretch>
        </p:blipFill>
        <p:spPr>
          <a:xfrm>
            <a:off x="2136114" y="1463040"/>
            <a:ext cx="7073469" cy="3200400"/>
          </a:xfrm>
          <a:prstGeom prst="rect">
            <a:avLst/>
          </a:prstGeom>
        </p:spPr>
      </p:pic>
      <p:pic>
        <p:nvPicPr>
          <p:cNvPr id="5" name="Picture 4"/>
          <p:cNvPicPr>
            <a:picLocks noChangeAspect="1"/>
          </p:cNvPicPr>
          <p:nvPr/>
        </p:nvPicPr>
        <p:blipFill>
          <a:blip r:embed="rId8"/>
          <a:stretch>
            <a:fillRect/>
          </a:stretch>
        </p:blipFill>
        <p:spPr>
          <a:xfrm>
            <a:off x="1552449" y="458114"/>
            <a:ext cx="8443692" cy="853514"/>
          </a:xfrm>
          <a:prstGeom prst="rect">
            <a:avLst/>
          </a:prstGeom>
        </p:spPr>
      </p:pic>
    </p:spTree>
    <p:extLst>
      <p:ext uri="{BB962C8B-B14F-4D97-AF65-F5344CB8AC3E}">
        <p14:creationId xmlns:p14="http://schemas.microsoft.com/office/powerpoint/2010/main" val="3059949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1005840"/>
            <a:ext cx="10616185" cy="1554480"/>
          </a:xfrm>
        </p:spPr>
        <p:txBody>
          <a:bodyPr/>
          <a:lstStyle/>
          <a:p>
            <a:pPr algn="ctr"/>
            <a:r>
              <a:rPr lang="en-US" altLang="en-US" sz="8000" dirty="0">
                <a:solidFill>
                  <a:srgbClr val="0070C0"/>
                </a:solidFill>
                <a:latin typeface="Girl Scout Text Medium" panose="02020003000000000000" pitchFamily="18" charset="0"/>
              </a:rPr>
              <a:t>eBudde</a:t>
            </a:r>
            <a:r>
              <a:rPr lang="en-US" dirty="0">
                <a:latin typeface="Girl Scout Text Medium" panose="02020003000000000000" pitchFamily="18" charset="0"/>
              </a:rPr>
              <a:t/>
            </a:r>
            <a:br>
              <a:rPr lang="en-US" dirty="0">
                <a:latin typeface="Girl Scout Text Medium" panose="02020003000000000000" pitchFamily="18" charset="0"/>
              </a:rPr>
            </a:br>
            <a:endParaRPr lang="en-US" dirty="0"/>
          </a:p>
        </p:txBody>
      </p:sp>
      <p:sp>
        <p:nvSpPr>
          <p:cNvPr id="3" name="Text Placeholder 2"/>
          <p:cNvSpPr>
            <a:spLocks noGrp="1"/>
          </p:cNvSpPr>
          <p:nvPr>
            <p:ph type="body" idx="1"/>
          </p:nvPr>
        </p:nvSpPr>
        <p:spPr>
          <a:xfrm>
            <a:off x="228598" y="3785616"/>
            <a:ext cx="10189397" cy="1005840"/>
          </a:xfrm>
        </p:spPr>
        <p:txBody>
          <a:bodyPr/>
          <a:lstStyle/>
          <a:p>
            <a:pPr algn="ctr"/>
            <a:r>
              <a:rPr lang="en-US" sz="4000" dirty="0">
                <a:latin typeface="Girl Scout Text Medium" panose="02020003000000000000" pitchFamily="18" charset="0"/>
              </a:rPr>
              <a:t>ebudde.littlebrownie.com</a:t>
            </a:r>
          </a:p>
          <a:p>
            <a:pPr algn="ctr"/>
            <a:endParaRPr lang="en-US" dirty="0"/>
          </a:p>
        </p:txBody>
      </p:sp>
    </p:spTree>
    <p:extLst>
      <p:ext uri="{BB962C8B-B14F-4D97-AF65-F5344CB8AC3E}">
        <p14:creationId xmlns:p14="http://schemas.microsoft.com/office/powerpoint/2010/main" val="10138270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1"/>
            <a:ext cx="10360153" cy="557784"/>
          </a:xfrm>
        </p:spPr>
        <p:txBody>
          <a:bodyPr/>
          <a:lstStyle/>
          <a:p>
            <a:pPr algn="ctr"/>
            <a:r>
              <a:rPr lang="en-US" sz="4000" dirty="0" smtClean="0"/>
              <a:t>Using eBudde </a:t>
            </a:r>
            <a:r>
              <a:rPr lang="en-US" dirty="0" smtClean="0"/>
              <a:t/>
            </a:r>
            <a:br>
              <a:rPr lang="en-US" dirty="0" smtClean="0"/>
            </a:br>
            <a:endParaRPr lang="en-US" dirty="0"/>
          </a:p>
        </p:txBody>
      </p:sp>
      <p:sp>
        <p:nvSpPr>
          <p:cNvPr id="3" name="Text Placeholder 2"/>
          <p:cNvSpPr>
            <a:spLocks noGrp="1"/>
          </p:cNvSpPr>
          <p:nvPr>
            <p:ph type="body" idx="1"/>
          </p:nvPr>
        </p:nvSpPr>
        <p:spPr>
          <a:xfrm>
            <a:off x="228598" y="1664208"/>
            <a:ext cx="10189397" cy="3822192"/>
          </a:xfrm>
        </p:spPr>
        <p:txBody>
          <a:bodyPr/>
          <a:lstStyle/>
          <a:p>
            <a:pPr marL="342900" indent="-342900">
              <a:spcBef>
                <a:spcPct val="0"/>
              </a:spcBef>
              <a:buFont typeface="Arial" panose="020B0604020202020204" pitchFamily="34" charset="0"/>
              <a:buChar char="•"/>
              <a:defRPr/>
            </a:pPr>
            <a:r>
              <a:rPr lang="en-US" altLang="en-US" dirty="0">
                <a:solidFill>
                  <a:srgbClr val="00B050"/>
                </a:solidFill>
                <a:latin typeface="Girl Scout Text Medium" panose="02020003000000000000" pitchFamily="18" charset="0"/>
              </a:rPr>
              <a:t>Troop Leaders  are uploaded into eBudde by council.</a:t>
            </a:r>
          </a:p>
          <a:p>
            <a:pPr>
              <a:spcBef>
                <a:spcPct val="0"/>
              </a:spcBef>
              <a:defRPr/>
            </a:pPr>
            <a:endParaRPr lang="en-US" altLang="en-US" dirty="0">
              <a:solidFill>
                <a:srgbClr val="00B050"/>
              </a:solidFill>
              <a:latin typeface="Girl Scout Text Medium" panose="02020003000000000000" pitchFamily="18" charset="0"/>
            </a:endParaRPr>
          </a:p>
          <a:p>
            <a:pPr marL="342900" indent="-342900">
              <a:spcBef>
                <a:spcPct val="0"/>
              </a:spcBef>
              <a:buFont typeface="Arial" panose="020B0604020202020204" pitchFamily="34" charset="0"/>
              <a:buChar char="•"/>
              <a:defRPr/>
            </a:pPr>
            <a:r>
              <a:rPr lang="en-US" altLang="en-US" dirty="0">
                <a:solidFill>
                  <a:srgbClr val="00B050"/>
                </a:solidFill>
                <a:latin typeface="Girl Scout Text Medium" panose="02020003000000000000" pitchFamily="18" charset="0"/>
              </a:rPr>
              <a:t>Troop Cookie Chairs must be added to eBudde by Customer Care.  Must have:</a:t>
            </a:r>
          </a:p>
          <a:p>
            <a:pPr>
              <a:spcBef>
                <a:spcPct val="0"/>
              </a:spcBef>
              <a:defRPr/>
            </a:pPr>
            <a:r>
              <a:rPr lang="en-US" altLang="en-US" dirty="0">
                <a:solidFill>
                  <a:srgbClr val="00B050"/>
                </a:solidFill>
                <a:latin typeface="Girl Scout Text Medium" panose="02020003000000000000" pitchFamily="18" charset="0"/>
              </a:rPr>
              <a:t>           --  background check</a:t>
            </a:r>
          </a:p>
          <a:p>
            <a:pPr>
              <a:spcBef>
                <a:spcPct val="0"/>
              </a:spcBef>
              <a:defRPr/>
            </a:pPr>
            <a:r>
              <a:rPr lang="en-US" altLang="en-US" dirty="0">
                <a:solidFill>
                  <a:srgbClr val="00B050"/>
                </a:solidFill>
                <a:latin typeface="Girl Scout Text Medium" panose="02020003000000000000" pitchFamily="18" charset="0"/>
              </a:rPr>
              <a:t>           --  current registration as a Girl </a:t>
            </a:r>
            <a:r>
              <a:rPr lang="en-US" altLang="en-US" dirty="0" smtClean="0">
                <a:solidFill>
                  <a:srgbClr val="00B050"/>
                </a:solidFill>
                <a:latin typeface="Girl Scout Text Medium" panose="02020003000000000000" pitchFamily="18" charset="0"/>
              </a:rPr>
              <a:t>Scout</a:t>
            </a:r>
            <a:endParaRPr lang="en-US" altLang="en-US" dirty="0">
              <a:solidFill>
                <a:srgbClr val="00B050"/>
              </a:solidFill>
              <a:latin typeface="Girl Scout Text Medium" panose="02020003000000000000" pitchFamily="18" charset="0"/>
            </a:endParaRPr>
          </a:p>
          <a:p>
            <a:pPr>
              <a:spcBef>
                <a:spcPct val="0"/>
              </a:spcBef>
              <a:defRPr/>
            </a:pPr>
            <a:endParaRPr lang="en-US" altLang="en-US" dirty="0">
              <a:solidFill>
                <a:srgbClr val="00B050"/>
              </a:solidFill>
              <a:latin typeface="Girl Scout Text Medium" panose="02020003000000000000" pitchFamily="18" charset="0"/>
            </a:endParaRPr>
          </a:p>
          <a:p>
            <a:pPr marL="342900" indent="-342900">
              <a:spcBef>
                <a:spcPct val="0"/>
              </a:spcBef>
              <a:buFont typeface="Arial" panose="020B0604020202020204" pitchFamily="34" charset="0"/>
              <a:buChar char="•"/>
              <a:defRPr/>
            </a:pPr>
            <a:r>
              <a:rPr lang="en-US" altLang="en-US" dirty="0">
                <a:solidFill>
                  <a:srgbClr val="00B050"/>
                </a:solidFill>
                <a:latin typeface="Girl Scout Text Medium" panose="02020003000000000000" pitchFamily="18" charset="0"/>
              </a:rPr>
              <a:t>Troop Cookie Chairs should contact Customer Care to be </a:t>
            </a:r>
            <a:r>
              <a:rPr lang="en-US" altLang="en-US" dirty="0" smtClean="0">
                <a:solidFill>
                  <a:srgbClr val="00B050"/>
                </a:solidFill>
                <a:latin typeface="Girl Scout Text Medium" panose="02020003000000000000" pitchFamily="18" charset="0"/>
              </a:rPr>
              <a:t>added.</a:t>
            </a:r>
            <a:endParaRPr lang="en-US" altLang="en-US" dirty="0">
              <a:solidFill>
                <a:srgbClr val="00B050"/>
              </a:solidFill>
              <a:latin typeface="Girl Scout Text Medium" panose="02020003000000000000" pitchFamily="18" charset="0"/>
            </a:endParaRPr>
          </a:p>
          <a:p>
            <a:endParaRPr lang="en-US" dirty="0"/>
          </a:p>
        </p:txBody>
      </p:sp>
    </p:spTree>
    <p:extLst>
      <p:ext uri="{BB962C8B-B14F-4D97-AF65-F5344CB8AC3E}">
        <p14:creationId xmlns:p14="http://schemas.microsoft.com/office/powerpoint/2010/main" val="87144266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84048" y="1"/>
            <a:ext cx="11210544" cy="3046988"/>
          </a:xfrm>
          <a:prstGeom prst="rect">
            <a:avLst/>
          </a:prstGeom>
        </p:spPr>
        <p:txBody>
          <a:bodyPr wrap="square">
            <a:spAutoFit/>
          </a:bodyPr>
          <a:lstStyle/>
          <a:p>
            <a:pPr lvl="0" algn="ctr"/>
            <a:r>
              <a:rPr lang="en-US" sz="2400" dirty="0">
                <a:solidFill>
                  <a:srgbClr val="0070C0"/>
                </a:solidFill>
                <a:latin typeface="Girl Scout Text Medium" panose="02020003000000000000" pitchFamily="18" charset="0"/>
              </a:rPr>
              <a:t>Initial Log In </a:t>
            </a:r>
          </a:p>
          <a:p>
            <a:pPr marL="342900" lvl="0" indent="-342900">
              <a:buFontTx/>
              <a:buAutoNum type="arabicPeriod"/>
            </a:pPr>
            <a:r>
              <a:rPr lang="en-US" sz="2400" dirty="0">
                <a:solidFill>
                  <a:srgbClr val="00B050"/>
                </a:solidFill>
                <a:latin typeface="Girl Scout Text Medium" panose="02020003000000000000" pitchFamily="18" charset="0"/>
              </a:rPr>
              <a:t>User receives welcome email with login link. </a:t>
            </a:r>
          </a:p>
          <a:p>
            <a:pPr marL="342900" lvl="0" indent="-342900">
              <a:buFontTx/>
              <a:buAutoNum type="arabicPeriod"/>
            </a:pPr>
            <a:r>
              <a:rPr lang="en-US" sz="2400" dirty="0">
                <a:solidFill>
                  <a:srgbClr val="00B050"/>
                </a:solidFill>
                <a:latin typeface="Girl Scout Text Medium" panose="02020003000000000000" pitchFamily="18" charset="0"/>
              </a:rPr>
              <a:t>Click on the link. </a:t>
            </a:r>
          </a:p>
          <a:p>
            <a:pPr marL="342900" lvl="0" indent="-342900">
              <a:buFontTx/>
              <a:buAutoNum type="arabicPeriod"/>
            </a:pPr>
            <a:r>
              <a:rPr lang="en-US" sz="2400" dirty="0">
                <a:solidFill>
                  <a:srgbClr val="00B050"/>
                </a:solidFill>
                <a:latin typeface="Girl Scout Text Medium" panose="02020003000000000000" pitchFamily="18" charset="0"/>
              </a:rPr>
              <a:t>At the login screen, enter your email and password. </a:t>
            </a:r>
          </a:p>
          <a:p>
            <a:pPr marL="342900" lvl="0" indent="-342900">
              <a:buFontTx/>
              <a:buAutoNum type="arabicPeriod"/>
            </a:pPr>
            <a:r>
              <a:rPr lang="en-US" sz="2400" dirty="0">
                <a:solidFill>
                  <a:srgbClr val="00B050"/>
                </a:solidFill>
                <a:latin typeface="Girl Scout Text Medium" panose="02020003000000000000" pitchFamily="18" charset="0"/>
              </a:rPr>
              <a:t>At the profile screen, enter password that you used in Step 3. Also review/enter all additional information. </a:t>
            </a:r>
          </a:p>
          <a:p>
            <a:pPr marL="342900" lvl="0" indent="-342900">
              <a:buFontTx/>
              <a:buAutoNum type="arabicPeriod"/>
            </a:pPr>
            <a:r>
              <a:rPr lang="en-US" sz="2400" dirty="0">
                <a:solidFill>
                  <a:srgbClr val="00B050"/>
                </a:solidFill>
                <a:latin typeface="Girl Scout Text Medium" panose="02020003000000000000" pitchFamily="18" charset="0"/>
              </a:rPr>
              <a:t>Enter Little Brownie Cookie Tech Portal system. </a:t>
            </a:r>
          </a:p>
          <a:p>
            <a:pPr marL="342900" lvl="0" indent="-342900">
              <a:buFontTx/>
              <a:buAutoNum type="arabicPeriod"/>
            </a:pPr>
            <a:r>
              <a:rPr lang="en-US" sz="2400" dirty="0">
                <a:solidFill>
                  <a:srgbClr val="00B050"/>
                </a:solidFill>
                <a:latin typeface="Girl Scout Text Medium" panose="02020003000000000000" pitchFamily="18" charset="0"/>
              </a:rPr>
              <a:t>Confirm account update via email link. Your Troop Dashboard will appear. </a:t>
            </a:r>
          </a:p>
        </p:txBody>
      </p:sp>
      <p:pic>
        <p:nvPicPr>
          <p:cNvPr id="5" name="Picture 4"/>
          <p:cNvPicPr>
            <a:picLocks noChangeAspect="1"/>
          </p:cNvPicPr>
          <p:nvPr/>
        </p:nvPicPr>
        <p:blipFill>
          <a:blip r:embed="rId3"/>
          <a:stretch>
            <a:fillRect/>
          </a:stretch>
        </p:blipFill>
        <p:spPr>
          <a:xfrm>
            <a:off x="3450148" y="3046989"/>
            <a:ext cx="4340728" cy="2578832"/>
          </a:xfrm>
          <a:prstGeom prst="rect">
            <a:avLst/>
          </a:prstGeom>
        </p:spPr>
      </p:pic>
    </p:spTree>
    <p:extLst>
      <p:ext uri="{BB962C8B-B14F-4D97-AF65-F5344CB8AC3E}">
        <p14:creationId xmlns:p14="http://schemas.microsoft.com/office/powerpoint/2010/main" val="40020994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0"/>
            <a:ext cx="8972551" cy="960120"/>
          </a:xfrm>
        </p:spPr>
        <p:txBody>
          <a:bodyPr/>
          <a:lstStyle/>
          <a:p>
            <a:pPr lvl="0" algn="ctr">
              <a:lnSpc>
                <a:spcPct val="100000"/>
              </a:lnSpc>
              <a:spcBef>
                <a:spcPts val="0"/>
              </a:spcBef>
            </a:pPr>
            <a:r>
              <a:rPr lang="en-US" altLang="en-US" sz="2800" dirty="0">
                <a:solidFill>
                  <a:srgbClr val="0070C0"/>
                </a:solidFill>
                <a:latin typeface="Girl Scout Text Medium" panose="02020003000000000000" pitchFamily="18" charset="0"/>
                <a:ea typeface="+mn-ea"/>
                <a:cs typeface="+mn-cs"/>
              </a:rPr>
              <a:t>Supporting </a:t>
            </a:r>
            <a:r>
              <a:rPr lang="en-US" altLang="en-US" sz="2800" dirty="0" smtClean="0">
                <a:solidFill>
                  <a:srgbClr val="0070C0"/>
                </a:solidFill>
                <a:latin typeface="Girl Scout Text Medium" panose="02020003000000000000" pitchFamily="18" charset="0"/>
                <a:ea typeface="+mn-ea"/>
                <a:cs typeface="+mn-cs"/>
              </a:rPr>
              <a:t>You:  </a:t>
            </a:r>
            <a:r>
              <a:rPr lang="en-US" altLang="en-US" sz="2800" i="1" dirty="0" smtClean="0">
                <a:solidFill>
                  <a:srgbClr val="0070C0"/>
                </a:solidFill>
                <a:latin typeface="Girl Scout Text Medium" panose="02020003000000000000" pitchFamily="18" charset="0"/>
                <a:ea typeface="+mn-ea"/>
                <a:cs typeface="+mn-cs"/>
              </a:rPr>
              <a:t>Using </a:t>
            </a:r>
            <a:r>
              <a:rPr lang="en-US" altLang="en-US" sz="2800" i="1" dirty="0">
                <a:solidFill>
                  <a:srgbClr val="0070C0"/>
                </a:solidFill>
                <a:latin typeface="Girl Scout Text Medium" panose="02020003000000000000" pitchFamily="18" charset="0"/>
                <a:ea typeface="+mn-ea"/>
                <a:cs typeface="+mn-cs"/>
              </a:rPr>
              <a:t>Your Resources</a:t>
            </a:r>
            <a:r>
              <a:rPr lang="en-US" sz="2800" b="0" dirty="0">
                <a:solidFill>
                  <a:prstClr val="black"/>
                </a:solidFill>
                <a:latin typeface="Girl Scout Text Medium" panose="02020003000000000000" pitchFamily="18" charset="0"/>
                <a:ea typeface="+mn-ea"/>
                <a:cs typeface="+mn-cs"/>
              </a:rPr>
              <a:t/>
            </a:r>
            <a:br>
              <a:rPr lang="en-US" sz="2800" b="0" dirty="0">
                <a:solidFill>
                  <a:prstClr val="black"/>
                </a:solidFill>
                <a:latin typeface="Girl Scout Text Medium" panose="02020003000000000000" pitchFamily="18" charset="0"/>
                <a:ea typeface="+mn-ea"/>
                <a:cs typeface="+mn-cs"/>
              </a:rPr>
            </a:br>
            <a:endParaRPr lang="en-US" dirty="0"/>
          </a:p>
        </p:txBody>
      </p:sp>
      <p:sp>
        <p:nvSpPr>
          <p:cNvPr id="3" name="Text Placeholder 2"/>
          <p:cNvSpPr>
            <a:spLocks noGrp="1"/>
          </p:cNvSpPr>
          <p:nvPr>
            <p:ph type="body" idx="1"/>
          </p:nvPr>
        </p:nvSpPr>
        <p:spPr>
          <a:xfrm>
            <a:off x="1712335" y="1516942"/>
            <a:ext cx="8851392" cy="3657600"/>
          </a:xfrm>
        </p:spPr>
        <p:txBody>
          <a:bodyPr/>
          <a:lstStyle/>
          <a:p>
            <a:pPr marL="342900" lvl="0" indent="-342900">
              <a:lnSpc>
                <a:spcPct val="100000"/>
              </a:lnSpc>
              <a:spcBef>
                <a:spcPts val="0"/>
              </a:spcBef>
              <a:buFont typeface="Arial" panose="020B0604020202020204" pitchFamily="34" charset="0"/>
              <a:buChar char="•"/>
            </a:pPr>
            <a:r>
              <a:rPr lang="en-US" altLang="en-US" dirty="0">
                <a:solidFill>
                  <a:srgbClr val="00B050"/>
                </a:solidFill>
                <a:latin typeface="Girl Scout Text Medium" panose="02020003000000000000" pitchFamily="18" charset="0"/>
              </a:rPr>
              <a:t>Council webinars</a:t>
            </a:r>
          </a:p>
          <a:p>
            <a:pPr marL="342900" lvl="0" indent="-342900">
              <a:lnSpc>
                <a:spcPct val="100000"/>
              </a:lnSpc>
              <a:spcBef>
                <a:spcPts val="0"/>
              </a:spcBef>
              <a:buFont typeface="Arial" panose="020B0604020202020204" pitchFamily="34" charset="0"/>
              <a:buChar char="•"/>
            </a:pPr>
            <a:endParaRPr lang="en-US" altLang="en-US" dirty="0">
              <a:solidFill>
                <a:srgbClr val="00B050"/>
              </a:solidFill>
              <a:latin typeface="Girl Scout Text Medium" panose="02020003000000000000" pitchFamily="18" charset="0"/>
            </a:endParaRPr>
          </a:p>
          <a:p>
            <a:pPr marL="342900" lvl="0" indent="-342900">
              <a:lnSpc>
                <a:spcPct val="100000"/>
              </a:lnSpc>
              <a:spcBef>
                <a:spcPts val="0"/>
              </a:spcBef>
              <a:buFont typeface="Arial" panose="020B0604020202020204" pitchFamily="34" charset="0"/>
              <a:buChar char="•"/>
            </a:pPr>
            <a:r>
              <a:rPr lang="en-US" altLang="en-US" dirty="0">
                <a:solidFill>
                  <a:srgbClr val="00B050"/>
                </a:solidFill>
                <a:latin typeface="Girl Scout Text Medium" panose="02020003000000000000" pitchFamily="18" charset="0"/>
              </a:rPr>
              <a:t>Lunch and Learn webinars </a:t>
            </a:r>
          </a:p>
          <a:p>
            <a:pPr marL="342900" lvl="0" indent="-342900">
              <a:lnSpc>
                <a:spcPct val="100000"/>
              </a:lnSpc>
              <a:spcBef>
                <a:spcPts val="0"/>
              </a:spcBef>
              <a:buFont typeface="Arial" panose="020B0604020202020204" pitchFamily="34" charset="0"/>
              <a:buChar char="•"/>
            </a:pPr>
            <a:endParaRPr lang="en-US" altLang="en-US" dirty="0">
              <a:solidFill>
                <a:srgbClr val="00B050"/>
              </a:solidFill>
              <a:latin typeface="Girl Scout Text Medium" panose="02020003000000000000" pitchFamily="18" charset="0"/>
            </a:endParaRPr>
          </a:p>
          <a:p>
            <a:pPr marL="342900" lvl="0" indent="-342900">
              <a:lnSpc>
                <a:spcPct val="100000"/>
              </a:lnSpc>
              <a:spcBef>
                <a:spcPts val="0"/>
              </a:spcBef>
              <a:buFont typeface="Arial" panose="020B0604020202020204" pitchFamily="34" charset="0"/>
              <a:buChar char="•"/>
            </a:pPr>
            <a:r>
              <a:rPr lang="en-US" altLang="en-US" dirty="0">
                <a:solidFill>
                  <a:srgbClr val="00B050"/>
                </a:solidFill>
                <a:latin typeface="Girl Scout Text Medium" panose="02020003000000000000" pitchFamily="18" charset="0"/>
              </a:rPr>
              <a:t>Microburst trainings LBB Videos in eBudde “help” tab </a:t>
            </a:r>
          </a:p>
          <a:p>
            <a:pPr marL="342900" lvl="0" indent="-342900">
              <a:lnSpc>
                <a:spcPct val="100000"/>
              </a:lnSpc>
              <a:spcBef>
                <a:spcPts val="0"/>
              </a:spcBef>
              <a:buFont typeface="Arial" panose="020B0604020202020204" pitchFamily="34" charset="0"/>
              <a:buChar char="•"/>
            </a:pPr>
            <a:endParaRPr lang="en-US" altLang="en-US" dirty="0">
              <a:solidFill>
                <a:srgbClr val="00B050"/>
              </a:solidFill>
              <a:latin typeface="Girl Scout Text Medium" panose="02020003000000000000" pitchFamily="18" charset="0"/>
            </a:endParaRPr>
          </a:p>
          <a:p>
            <a:pPr marL="342900" lvl="0" indent="-342900">
              <a:lnSpc>
                <a:spcPct val="100000"/>
              </a:lnSpc>
              <a:spcBef>
                <a:spcPts val="0"/>
              </a:spcBef>
              <a:buFont typeface="Arial" panose="020B0604020202020204" pitchFamily="34" charset="0"/>
              <a:buChar char="•"/>
            </a:pPr>
            <a:r>
              <a:rPr lang="en-US" altLang="en-US" dirty="0">
                <a:solidFill>
                  <a:srgbClr val="00B050"/>
                </a:solidFill>
                <a:latin typeface="Girl Scout Text Medium" panose="02020003000000000000" pitchFamily="18" charset="0"/>
              </a:rPr>
              <a:t>GSHH Headlines &amp; Happenings</a:t>
            </a:r>
          </a:p>
          <a:p>
            <a:pPr marL="342900" lvl="0" indent="-342900">
              <a:lnSpc>
                <a:spcPct val="100000"/>
              </a:lnSpc>
              <a:spcBef>
                <a:spcPts val="0"/>
              </a:spcBef>
              <a:buFont typeface="Arial" panose="020B0604020202020204" pitchFamily="34" charset="0"/>
              <a:buChar char="•"/>
            </a:pPr>
            <a:endParaRPr lang="en-US" altLang="en-US" dirty="0">
              <a:solidFill>
                <a:srgbClr val="00B050"/>
              </a:solidFill>
              <a:latin typeface="Girl Scout Text Medium" panose="02020003000000000000" pitchFamily="18" charset="0"/>
            </a:endParaRPr>
          </a:p>
          <a:p>
            <a:pPr marL="342900" lvl="0" indent="-342900">
              <a:lnSpc>
                <a:spcPct val="100000"/>
              </a:lnSpc>
              <a:spcBef>
                <a:spcPts val="0"/>
              </a:spcBef>
              <a:buFont typeface="Arial" panose="020B0604020202020204" pitchFamily="34" charset="0"/>
              <a:buChar char="•"/>
            </a:pPr>
            <a:r>
              <a:rPr lang="en-US" altLang="en-US" dirty="0">
                <a:solidFill>
                  <a:srgbClr val="00B050"/>
                </a:solidFill>
                <a:latin typeface="Girl Scout Text Medium" panose="02020003000000000000" pitchFamily="18" charset="0"/>
              </a:rPr>
              <a:t> Leader Agendas</a:t>
            </a:r>
          </a:p>
          <a:p>
            <a:endParaRPr lang="en-US" dirty="0"/>
          </a:p>
        </p:txBody>
      </p:sp>
    </p:spTree>
    <p:extLst>
      <p:ext uri="{BB962C8B-B14F-4D97-AF65-F5344CB8AC3E}">
        <p14:creationId xmlns:p14="http://schemas.microsoft.com/office/powerpoint/2010/main" val="34614435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8368" y="438561"/>
            <a:ext cx="10015659" cy="814690"/>
          </a:xfrm>
        </p:spPr>
        <p:txBody>
          <a:bodyPr/>
          <a:lstStyle/>
          <a:p>
            <a:pPr algn="ctr"/>
            <a:r>
              <a:rPr lang="en-US" sz="4000" dirty="0" smtClean="0"/>
              <a:t>Communication supports success </a:t>
            </a:r>
            <a:endParaRPr lang="en-US" sz="4000" dirty="0"/>
          </a:p>
        </p:txBody>
      </p:sp>
      <p:sp>
        <p:nvSpPr>
          <p:cNvPr id="5" name="Rectangle 4"/>
          <p:cNvSpPr/>
          <p:nvPr/>
        </p:nvSpPr>
        <p:spPr>
          <a:xfrm>
            <a:off x="402336" y="1253251"/>
            <a:ext cx="11173968" cy="4401205"/>
          </a:xfrm>
          <a:prstGeom prst="rect">
            <a:avLst/>
          </a:prstGeom>
        </p:spPr>
        <p:txBody>
          <a:bodyPr wrap="square">
            <a:spAutoFit/>
          </a:bodyPr>
          <a:lstStyle/>
          <a:p>
            <a:pPr marL="342900" lvl="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rPr>
              <a:t>Your Service Unit Cookie Chair (SUCC) is your primary contact</a:t>
            </a:r>
          </a:p>
          <a:p>
            <a:pPr marL="857250" lvl="1" indent="-457200">
              <a:buFont typeface="Wingdings" panose="05000000000000000000" pitchFamily="2" charset="2"/>
              <a:buChar char="Ø"/>
              <a:defRPr/>
            </a:pPr>
            <a:r>
              <a:rPr lang="en-US" altLang="en-US" sz="2800" b="1" dirty="0">
                <a:solidFill>
                  <a:srgbClr val="00B050"/>
                </a:solidFill>
                <a:latin typeface="Girl Scout Text Medium" panose="02020003000000000000" pitchFamily="18" charset="0"/>
              </a:rPr>
              <a:t>Read eBudde email, check eBudde dashboard messages</a:t>
            </a:r>
            <a:r>
              <a:rPr lang="en-US" altLang="en-US" sz="2800" b="1" dirty="0">
                <a:solidFill>
                  <a:srgbClr val="00B050"/>
                </a:solidFill>
                <a:latin typeface="Girl Scout Text Medium" panose="02020003000000000000" pitchFamily="18" charset="0"/>
                <a:sym typeface="Wingdings" panose="05000000000000000000" pitchFamily="2" charset="2"/>
              </a:rPr>
              <a:t>    </a:t>
            </a:r>
          </a:p>
          <a:p>
            <a:pPr marL="400050" lvl="1">
              <a:buFont typeface="Wingdings" pitchFamily="2" charset="2"/>
              <a:buChar char="Ø"/>
              <a:defRPr/>
            </a:pPr>
            <a:endParaRPr lang="en-US" altLang="en-US" sz="2800" b="1" dirty="0">
              <a:solidFill>
                <a:srgbClr val="00B050"/>
              </a:solidFill>
              <a:latin typeface="Girl Scout Text Medium" panose="02020003000000000000" pitchFamily="18" charset="0"/>
            </a:endParaRPr>
          </a:p>
          <a:p>
            <a:pPr marL="342900" lvl="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sym typeface="Wingdings" panose="05000000000000000000" pitchFamily="2" charset="2"/>
              </a:rPr>
              <a:t> Utilize any communications tools</a:t>
            </a:r>
          </a:p>
          <a:p>
            <a:pPr marL="914400" lvl="1" indent="-457200">
              <a:buFont typeface="Wingdings" panose="05000000000000000000" pitchFamily="2" charset="2"/>
              <a:buChar char="Ø"/>
              <a:defRPr/>
            </a:pPr>
            <a:r>
              <a:rPr lang="en-US" altLang="en-US" sz="2800" b="1" dirty="0">
                <a:solidFill>
                  <a:srgbClr val="00B050"/>
                </a:solidFill>
                <a:latin typeface="Girl Scout Text Medium" panose="02020003000000000000" pitchFamily="18" charset="0"/>
                <a:sym typeface="Wingdings" panose="05000000000000000000" pitchFamily="2" charset="2"/>
              </a:rPr>
              <a:t>Individual emails, use eBudde’s Contacts tab to email families right from the site</a:t>
            </a:r>
          </a:p>
          <a:p>
            <a:pPr lvl="1">
              <a:defRPr/>
            </a:pPr>
            <a:endParaRPr lang="en-US" altLang="en-US" sz="2800" b="1" dirty="0">
              <a:solidFill>
                <a:srgbClr val="00B050"/>
              </a:solidFill>
              <a:latin typeface="Girl Scout Text Medium" panose="02020003000000000000" pitchFamily="18" charset="0"/>
              <a:sym typeface="Wingdings" panose="05000000000000000000" pitchFamily="2" charset="2"/>
            </a:endParaRPr>
          </a:p>
          <a:p>
            <a:pPr marL="342900" lvl="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sym typeface="Wingdings" panose="05000000000000000000" pitchFamily="2" charset="2"/>
              </a:rPr>
              <a:t>Share your contact information</a:t>
            </a:r>
          </a:p>
          <a:p>
            <a:pPr marL="342900" lvl="0" indent="-342900">
              <a:buFont typeface="Arial" panose="020B0604020202020204" pitchFamily="34" charset="0"/>
              <a:buChar char="•"/>
              <a:defRPr/>
            </a:pPr>
            <a:endParaRPr lang="en-US" altLang="en-US" sz="2800" b="1" dirty="0">
              <a:solidFill>
                <a:srgbClr val="00B050"/>
              </a:solidFill>
              <a:latin typeface="Girl Scout Text Medium" panose="02020003000000000000" pitchFamily="18" charset="0"/>
              <a:sym typeface="Wingdings" panose="05000000000000000000" pitchFamily="2" charset="2"/>
            </a:endParaRPr>
          </a:p>
          <a:p>
            <a:pPr marL="342900" lvl="0" indent="-342900">
              <a:buFont typeface="Arial" panose="020B0604020202020204" pitchFamily="34" charset="0"/>
              <a:buChar char="•"/>
              <a:defRPr/>
            </a:pPr>
            <a:r>
              <a:rPr lang="en-US" altLang="en-US" sz="2800" b="1" dirty="0">
                <a:solidFill>
                  <a:srgbClr val="00B050"/>
                </a:solidFill>
                <a:latin typeface="Girl Scout Text Medium" panose="02020003000000000000" pitchFamily="18" charset="0"/>
              </a:rPr>
              <a:t>Troops can contact </a:t>
            </a:r>
            <a:r>
              <a:rPr lang="en-US" altLang="en-US" sz="2800" b="1" dirty="0" smtClean="0">
                <a:solidFill>
                  <a:srgbClr val="00B050"/>
                </a:solidFill>
                <a:latin typeface="Girl Scout Text Medium" panose="02020003000000000000" pitchFamily="18" charset="0"/>
              </a:rPr>
              <a:t>Member Care </a:t>
            </a:r>
            <a:r>
              <a:rPr lang="en-US" altLang="en-US" sz="2800" b="1" dirty="0">
                <a:solidFill>
                  <a:srgbClr val="00B050"/>
                </a:solidFill>
                <a:latin typeface="Girl Scout Text Medium" panose="02020003000000000000" pitchFamily="18" charset="0"/>
              </a:rPr>
              <a:t>with questions</a:t>
            </a:r>
          </a:p>
        </p:txBody>
      </p:sp>
    </p:spTree>
    <p:extLst>
      <p:ext uri="{BB962C8B-B14F-4D97-AF65-F5344CB8AC3E}">
        <p14:creationId xmlns:p14="http://schemas.microsoft.com/office/powerpoint/2010/main" val="361192046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
            <a:ext cx="10863072" cy="6110478"/>
          </a:xfrm>
          <a:prstGeom prst="rect">
            <a:avLst/>
          </a:prstGeom>
        </p:spPr>
      </p:pic>
      <p:sp>
        <p:nvSpPr>
          <p:cNvPr id="6" name="Text Placeholder 2"/>
          <p:cNvSpPr txBox="1">
            <a:spLocks/>
          </p:cNvSpPr>
          <p:nvPr/>
        </p:nvSpPr>
        <p:spPr>
          <a:xfrm>
            <a:off x="713233" y="1060704"/>
            <a:ext cx="9674352" cy="347472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FC6C0F"/>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en-US" sz="8000" dirty="0" smtClean="0">
                <a:solidFill>
                  <a:schemeClr val="accent1">
                    <a:lumMod val="50000"/>
                  </a:schemeClr>
                </a:solidFill>
              </a:rPr>
              <a:t>Delivery</a:t>
            </a:r>
            <a:r>
              <a:rPr lang="en-US" sz="8000" dirty="0" smtClean="0"/>
              <a:t> </a:t>
            </a:r>
            <a:endParaRPr lang="en-US" sz="8000" dirty="0"/>
          </a:p>
        </p:txBody>
      </p:sp>
    </p:spTree>
    <p:extLst>
      <p:ext uri="{BB962C8B-B14F-4D97-AF65-F5344CB8AC3E}">
        <p14:creationId xmlns:p14="http://schemas.microsoft.com/office/powerpoint/2010/main" val="137639640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8" y="219456"/>
            <a:ext cx="10189397" cy="786384"/>
          </a:xfrm>
        </p:spPr>
        <p:txBody>
          <a:bodyPr/>
          <a:lstStyle/>
          <a:p>
            <a:pPr algn="ctr"/>
            <a:r>
              <a:rPr lang="en-US" sz="5400" dirty="0" smtClean="0"/>
              <a:t>Delivery </a:t>
            </a:r>
            <a:endParaRPr lang="en-US" sz="5400" dirty="0"/>
          </a:p>
        </p:txBody>
      </p:sp>
      <p:sp>
        <p:nvSpPr>
          <p:cNvPr id="4" name="Rectangle 3"/>
          <p:cNvSpPr/>
          <p:nvPr/>
        </p:nvSpPr>
        <p:spPr>
          <a:xfrm>
            <a:off x="228598" y="1606550"/>
            <a:ext cx="8915402" cy="4031873"/>
          </a:xfrm>
          <a:prstGeom prst="rect">
            <a:avLst/>
          </a:prstGeom>
        </p:spPr>
        <p:txBody>
          <a:bodyPr wrap="square">
            <a:spAutoFit/>
          </a:bodyPr>
          <a:lstStyle/>
          <a:p>
            <a:pPr marL="342900" lvl="0" indent="-342900">
              <a:spcBef>
                <a:spcPct val="0"/>
              </a:spcBef>
              <a:buFont typeface="Arial" panose="020B0604020202020204" pitchFamily="34" charset="0"/>
              <a:buChar char="•"/>
            </a:pPr>
            <a:r>
              <a:rPr lang="en-US" altLang="en-US" sz="3200" b="1" dirty="0">
                <a:solidFill>
                  <a:srgbClr val="00B050"/>
                </a:solidFill>
                <a:latin typeface="Girl Scout Text Medium" panose="02020003000000000000" pitchFamily="18" charset="0"/>
              </a:rPr>
              <a:t>Delivery between </a:t>
            </a:r>
            <a:r>
              <a:rPr lang="en-US" altLang="en-US" sz="3200" b="1" dirty="0" smtClean="0">
                <a:solidFill>
                  <a:srgbClr val="00B050"/>
                </a:solidFill>
                <a:latin typeface="Girl Scout Text Medium" panose="02020003000000000000" pitchFamily="18" charset="0"/>
              </a:rPr>
              <a:t>April 20</a:t>
            </a:r>
            <a:r>
              <a:rPr lang="en-US" altLang="en-US" sz="3200" b="1" baseline="30000" dirty="0" smtClean="0">
                <a:solidFill>
                  <a:srgbClr val="00B050"/>
                </a:solidFill>
                <a:latin typeface="Girl Scout Text Medium" panose="02020003000000000000" pitchFamily="18" charset="0"/>
              </a:rPr>
              <a:t>th</a:t>
            </a:r>
            <a:r>
              <a:rPr lang="en-US" altLang="en-US" sz="3200" b="1" dirty="0" smtClean="0">
                <a:solidFill>
                  <a:srgbClr val="00B050"/>
                </a:solidFill>
                <a:latin typeface="Girl Scout Text Medium" panose="02020003000000000000" pitchFamily="18" charset="0"/>
              </a:rPr>
              <a:t> -April 22</a:t>
            </a:r>
            <a:r>
              <a:rPr lang="en-US" altLang="en-US" sz="3200" b="1" baseline="30000" dirty="0" smtClean="0">
                <a:solidFill>
                  <a:srgbClr val="00B050"/>
                </a:solidFill>
                <a:latin typeface="Girl Scout Text Medium" panose="02020003000000000000" pitchFamily="18" charset="0"/>
              </a:rPr>
              <a:t>nd</a:t>
            </a:r>
            <a:r>
              <a:rPr lang="en-US" altLang="en-US" sz="3200" b="1" dirty="0" smtClean="0">
                <a:solidFill>
                  <a:srgbClr val="00B050"/>
                </a:solidFill>
                <a:latin typeface="Girl Scout Text Medium" panose="02020003000000000000" pitchFamily="18" charset="0"/>
              </a:rPr>
              <a:t>.</a:t>
            </a:r>
          </a:p>
          <a:p>
            <a:pPr marL="342900" lvl="0" indent="-342900">
              <a:spcBef>
                <a:spcPct val="0"/>
              </a:spcBef>
              <a:buFont typeface="Arial" panose="020B0604020202020204" pitchFamily="34" charset="0"/>
              <a:buChar char="•"/>
            </a:pPr>
            <a:endParaRPr lang="en-US" altLang="en-US" sz="3200" b="1" dirty="0">
              <a:solidFill>
                <a:srgbClr val="00B050"/>
              </a:solidFill>
              <a:latin typeface="Girl Scout Text Medium" panose="02020003000000000000" pitchFamily="18" charset="0"/>
            </a:endParaRPr>
          </a:p>
          <a:p>
            <a:pPr marL="342900" lvl="0" indent="-342900">
              <a:spcBef>
                <a:spcPct val="0"/>
              </a:spcBef>
              <a:buFont typeface="Arial" panose="020B0604020202020204" pitchFamily="34" charset="0"/>
              <a:buChar char="•"/>
            </a:pPr>
            <a:r>
              <a:rPr lang="en-US" altLang="en-US" sz="3200" b="1" dirty="0">
                <a:solidFill>
                  <a:srgbClr val="00B050"/>
                </a:solidFill>
                <a:latin typeface="Girl Scout Text Medium" panose="02020003000000000000" pitchFamily="18" charset="0"/>
              </a:rPr>
              <a:t>Council enters delivery date/ </a:t>
            </a:r>
            <a:r>
              <a:rPr lang="en-US" altLang="en-US" sz="3200" b="1" dirty="0" smtClean="0">
                <a:solidFill>
                  <a:srgbClr val="00B050"/>
                </a:solidFill>
                <a:latin typeface="Girl Scout Text Medium" panose="02020003000000000000" pitchFamily="18" charset="0"/>
              </a:rPr>
              <a:t>times/locations</a:t>
            </a:r>
          </a:p>
          <a:p>
            <a:pPr lvl="0">
              <a:spcBef>
                <a:spcPct val="0"/>
              </a:spcBef>
            </a:pPr>
            <a:r>
              <a:rPr lang="en-US" altLang="en-US" sz="3200" b="1" dirty="0" smtClean="0">
                <a:solidFill>
                  <a:srgbClr val="00B050"/>
                </a:solidFill>
                <a:latin typeface="Girl Scout Text Medium" panose="02020003000000000000" pitchFamily="18" charset="0"/>
              </a:rPr>
              <a:t>  </a:t>
            </a:r>
            <a:r>
              <a:rPr lang="en-US" altLang="en-US" sz="3200" b="1" dirty="0">
                <a:solidFill>
                  <a:srgbClr val="00B050"/>
                </a:solidFill>
                <a:latin typeface="Girl Scout Text Medium" panose="02020003000000000000" pitchFamily="18" charset="0"/>
              </a:rPr>
              <a:t> </a:t>
            </a:r>
            <a:r>
              <a:rPr lang="en-US" altLang="en-US" sz="3200" b="1" dirty="0" smtClean="0">
                <a:solidFill>
                  <a:srgbClr val="00B050"/>
                </a:solidFill>
                <a:latin typeface="Girl Scout Text Medium" panose="02020003000000000000" pitchFamily="18" charset="0"/>
              </a:rPr>
              <a:t> in </a:t>
            </a:r>
            <a:r>
              <a:rPr lang="en-US" altLang="en-US" sz="3200" b="1" dirty="0">
                <a:solidFill>
                  <a:srgbClr val="00B050"/>
                </a:solidFill>
                <a:latin typeface="Girl Scout Text Medium" panose="02020003000000000000" pitchFamily="18" charset="0"/>
              </a:rPr>
              <a:t>eBudde. Check message on dashboard late </a:t>
            </a:r>
            <a:r>
              <a:rPr lang="en-US" altLang="en-US" sz="3200" b="1" dirty="0" smtClean="0">
                <a:solidFill>
                  <a:srgbClr val="00B050"/>
                </a:solidFill>
                <a:latin typeface="Girl Scout Text Medium" panose="02020003000000000000" pitchFamily="18" charset="0"/>
              </a:rPr>
              <a:t/>
            </a:r>
            <a:br>
              <a:rPr lang="en-US" altLang="en-US" sz="3200" b="1" dirty="0" smtClean="0">
                <a:solidFill>
                  <a:srgbClr val="00B050"/>
                </a:solidFill>
                <a:latin typeface="Girl Scout Text Medium" panose="02020003000000000000" pitchFamily="18" charset="0"/>
              </a:rPr>
            </a:br>
            <a:r>
              <a:rPr lang="en-US" altLang="en-US" sz="3200" b="1" dirty="0" smtClean="0">
                <a:solidFill>
                  <a:srgbClr val="00B050"/>
                </a:solidFill>
                <a:latin typeface="Girl Scout Text Medium" panose="02020003000000000000" pitchFamily="18" charset="0"/>
              </a:rPr>
              <a:t>    March.</a:t>
            </a:r>
          </a:p>
          <a:p>
            <a:pPr lvl="0">
              <a:spcBef>
                <a:spcPct val="0"/>
              </a:spcBef>
            </a:pPr>
            <a:endParaRPr lang="en-US" altLang="en-US" sz="3200" b="1" dirty="0">
              <a:solidFill>
                <a:srgbClr val="00B050"/>
              </a:solidFill>
              <a:latin typeface="Girl Scout Text Medium" panose="02020003000000000000" pitchFamily="18" charset="0"/>
            </a:endParaRPr>
          </a:p>
          <a:p>
            <a:pPr marL="457200" lvl="0" indent="-457200">
              <a:spcBef>
                <a:spcPct val="0"/>
              </a:spcBef>
              <a:buFont typeface="Arial" panose="020B0604020202020204" pitchFamily="34" charset="0"/>
              <a:buChar char="•"/>
            </a:pPr>
            <a:r>
              <a:rPr lang="en-US" altLang="en-US" sz="3200" b="1" dirty="0">
                <a:solidFill>
                  <a:srgbClr val="00B050"/>
                </a:solidFill>
                <a:latin typeface="Girl Scout Text Medium" panose="02020003000000000000" pitchFamily="18" charset="0"/>
              </a:rPr>
              <a:t>Troops can set up appointments </a:t>
            </a:r>
            <a:r>
              <a:rPr lang="en-US" altLang="en-US" sz="3200" b="1" dirty="0" smtClean="0">
                <a:solidFill>
                  <a:srgbClr val="00B050"/>
                </a:solidFill>
                <a:latin typeface="Girl Scout Text Medium" panose="02020003000000000000" pitchFamily="18" charset="0"/>
              </a:rPr>
              <a:t>once </a:t>
            </a:r>
            <a:r>
              <a:rPr lang="en-US" altLang="en-US" sz="3200" b="1" dirty="0">
                <a:solidFill>
                  <a:srgbClr val="00B050"/>
                </a:solidFill>
                <a:latin typeface="Girl Scout Text Medium" panose="02020003000000000000" pitchFamily="18" charset="0"/>
              </a:rPr>
              <a:t>dates/locations are in </a:t>
            </a:r>
            <a:r>
              <a:rPr lang="en-US" altLang="en-US" sz="3200" b="1" dirty="0" smtClean="0">
                <a:solidFill>
                  <a:srgbClr val="00B050"/>
                </a:solidFill>
                <a:latin typeface="Girl Scout Text Medium" panose="02020003000000000000" pitchFamily="18" charset="0"/>
              </a:rPr>
              <a:t>eBudde (March 27, 2023)</a:t>
            </a:r>
            <a:endParaRPr lang="en-US" altLang="en-US" sz="3200" b="1" dirty="0">
              <a:solidFill>
                <a:srgbClr val="00B050"/>
              </a:solidFill>
              <a:latin typeface="Girl Scout Text Medium" panose="02020003000000000000" pitchFamily="18" charset="0"/>
            </a:endParaRPr>
          </a:p>
        </p:txBody>
      </p:sp>
      <p:pic>
        <p:nvPicPr>
          <p:cNvPr id="5" name="Picture 4"/>
          <p:cNvPicPr>
            <a:picLocks noChangeAspect="1"/>
          </p:cNvPicPr>
          <p:nvPr/>
        </p:nvPicPr>
        <p:blipFill>
          <a:blip r:embed="rId3"/>
          <a:stretch>
            <a:fillRect/>
          </a:stretch>
        </p:blipFill>
        <p:spPr>
          <a:xfrm rot="784669">
            <a:off x="9589078" y="1207231"/>
            <a:ext cx="2563379" cy="2127141"/>
          </a:xfrm>
          <a:prstGeom prst="rect">
            <a:avLst/>
          </a:prstGeom>
        </p:spPr>
      </p:pic>
    </p:spTree>
    <p:extLst>
      <p:ext uri="{BB962C8B-B14F-4D97-AF65-F5344CB8AC3E}">
        <p14:creationId xmlns:p14="http://schemas.microsoft.com/office/powerpoint/2010/main" val="25851865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599" y="228600"/>
            <a:ext cx="10799065" cy="1106424"/>
          </a:xfrm>
        </p:spPr>
        <p:txBody>
          <a:bodyPr/>
          <a:lstStyle/>
          <a:p>
            <a:pPr algn="ctr"/>
            <a:r>
              <a:rPr lang="en-US" sz="4400" dirty="0" smtClean="0"/>
              <a:t>Delivery </a:t>
            </a:r>
            <a:endParaRPr lang="en-US" sz="4400" dirty="0"/>
          </a:p>
        </p:txBody>
      </p:sp>
      <p:sp>
        <p:nvSpPr>
          <p:cNvPr id="4" name="Rectangle 3"/>
          <p:cNvSpPr/>
          <p:nvPr/>
        </p:nvSpPr>
        <p:spPr>
          <a:xfrm>
            <a:off x="475488" y="877824"/>
            <a:ext cx="11155680" cy="3046988"/>
          </a:xfrm>
          <a:prstGeom prst="rect">
            <a:avLst/>
          </a:prstGeom>
        </p:spPr>
        <p:txBody>
          <a:bodyPr wrap="square">
            <a:spAutoFit/>
          </a:bodyPr>
          <a:lstStyle/>
          <a:p>
            <a:pPr lvl="0"/>
            <a:r>
              <a:rPr lang="en-US" sz="2400" b="1" dirty="0">
                <a:solidFill>
                  <a:srgbClr val="00B050"/>
                </a:solidFill>
                <a:latin typeface="Girl Scout Text Book" panose="02020003000000000000" pitchFamily="18" charset="0"/>
              </a:rPr>
              <a:t>Follow these guidelines for a smooth cookie pickup </a:t>
            </a:r>
            <a:r>
              <a:rPr lang="en-US" sz="2400" b="1" dirty="0" smtClean="0">
                <a:solidFill>
                  <a:srgbClr val="00B050"/>
                </a:solidFill>
                <a:latin typeface="Girl Scout Text Book" panose="02020003000000000000" pitchFamily="18" charset="0"/>
              </a:rPr>
              <a:t>day:</a:t>
            </a:r>
            <a:endParaRPr lang="en-US" sz="2400" b="1" dirty="0">
              <a:solidFill>
                <a:srgbClr val="00B050"/>
              </a:solidFill>
              <a:latin typeface="Girl Scout Text Book" panose="02020003000000000000" pitchFamily="18" charset="0"/>
            </a:endParaRP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Know exactly how many cookie cases you ordered of each variety.</a:t>
            </a: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Arrive at your scheduled pickup time. </a:t>
            </a: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Make sure to have enough vehicles to load your order. See graphic below for help!</a:t>
            </a: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Have your eBudde delivery confirmation with case count.</a:t>
            </a: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Count as cookies are loaded into vehicles.</a:t>
            </a:r>
          </a:p>
          <a:p>
            <a:pPr marL="342900" lvl="0" indent="-342900">
              <a:buFont typeface="Arial" panose="020B0604020202020204" pitchFamily="34" charset="0"/>
              <a:buChar char="•"/>
            </a:pPr>
            <a:r>
              <a:rPr lang="en-US" sz="2400" b="1" dirty="0">
                <a:solidFill>
                  <a:srgbClr val="00B050"/>
                </a:solidFill>
                <a:latin typeface="Girl Scout Text Book" panose="02020003000000000000" pitchFamily="18" charset="0"/>
              </a:rPr>
              <a:t>Confirm the count is correct before signing for your troop's cookies. Your troop is financially responsible for these cookies.</a:t>
            </a:r>
          </a:p>
        </p:txBody>
      </p:sp>
      <p:graphicFrame>
        <p:nvGraphicFramePr>
          <p:cNvPr id="5" name="Table 4"/>
          <p:cNvGraphicFramePr>
            <a:graphicFrameLocks noGrp="1"/>
          </p:cNvGraphicFramePr>
          <p:nvPr>
            <p:extLst>
              <p:ext uri="{D42A27DB-BD31-4B8C-83A1-F6EECF244321}">
                <p14:modId xmlns:p14="http://schemas.microsoft.com/office/powerpoint/2010/main" val="3627100938"/>
              </p:ext>
            </p:extLst>
          </p:nvPr>
        </p:nvGraphicFramePr>
        <p:xfrm>
          <a:off x="2944368" y="3924813"/>
          <a:ext cx="5998464" cy="1872483"/>
        </p:xfrm>
        <a:graphic>
          <a:graphicData uri="http://schemas.openxmlformats.org/drawingml/2006/table">
            <a:tbl>
              <a:tblPr/>
              <a:tblGrid>
                <a:gridCol w="2999232">
                  <a:extLst>
                    <a:ext uri="{9D8B030D-6E8A-4147-A177-3AD203B41FA5}">
                      <a16:colId xmlns:a16="http://schemas.microsoft.com/office/drawing/2014/main" val="3721516793"/>
                    </a:ext>
                  </a:extLst>
                </a:gridCol>
                <a:gridCol w="2999232">
                  <a:extLst>
                    <a:ext uri="{9D8B030D-6E8A-4147-A177-3AD203B41FA5}">
                      <a16:colId xmlns:a16="http://schemas.microsoft.com/office/drawing/2014/main" val="2091369062"/>
                    </a:ext>
                  </a:extLst>
                </a:gridCol>
              </a:tblGrid>
              <a:tr h="229632">
                <a:tc>
                  <a:txBody>
                    <a:bodyPr/>
                    <a:lstStyle/>
                    <a:p>
                      <a:pPr marL="330200" marR="324485" indent="0" algn="ctr" rtl="0">
                        <a:lnSpc>
                          <a:spcPct val="119000"/>
                        </a:lnSpc>
                        <a:spcBef>
                          <a:spcPts val="530"/>
                        </a:spcBef>
                        <a:spcAft>
                          <a:spcPts val="0"/>
                        </a:spcAft>
                      </a:pPr>
                      <a:r>
                        <a:rPr lang="en-US" sz="1156" b="1" kern="1400">
                          <a:ln>
                            <a:noFill/>
                          </a:ln>
                          <a:solidFill>
                            <a:srgbClr val="FFFFFF"/>
                          </a:solidFill>
                          <a:effectLst/>
                          <a:latin typeface="Palatino Linotype" panose="02040502050505030304" pitchFamily="18" charset="0"/>
                        </a:rPr>
                        <a:t>Vehicle</a:t>
                      </a:r>
                      <a:r>
                        <a:rPr lang="en-US" sz="1156" b="1" kern="1400" spc="-15">
                          <a:ln>
                            <a:noFill/>
                          </a:ln>
                          <a:solidFill>
                            <a:srgbClr val="FFFFFF"/>
                          </a:solidFill>
                          <a:effectLst/>
                          <a:latin typeface="Palatino Linotype" panose="02040502050505030304" pitchFamily="18" charset="0"/>
                        </a:rPr>
                        <a:t> </a:t>
                      </a:r>
                      <a:r>
                        <a:rPr lang="en-US" sz="1156" b="1" kern="1400">
                          <a:ln>
                            <a:noFill/>
                          </a:ln>
                          <a:solidFill>
                            <a:srgbClr val="FFFFFF"/>
                          </a:solidFill>
                          <a:effectLst/>
                          <a:latin typeface="Palatino Linotype" panose="02040502050505030304" pitchFamily="18" charset="0"/>
                        </a:rPr>
                        <a:t>Type</a:t>
                      </a:r>
                      <a:endParaRPr lang="en-US" sz="1272" kern="1400">
                        <a:ln>
                          <a:noFill/>
                        </a:ln>
                        <a:solidFill>
                          <a:srgbClr val="000000"/>
                        </a:solidFill>
                        <a:effectLst/>
                        <a:latin typeface="Palatino Linotype" panose="0204050205050503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329E"/>
                    </a:solidFill>
                  </a:tcPr>
                </a:tc>
                <a:tc>
                  <a:txBody>
                    <a:bodyPr/>
                    <a:lstStyle/>
                    <a:p>
                      <a:pPr marL="330200" marR="325120" indent="0" algn="ctr" rtl="0">
                        <a:lnSpc>
                          <a:spcPct val="119000"/>
                        </a:lnSpc>
                        <a:spcBef>
                          <a:spcPts val="530"/>
                        </a:spcBef>
                        <a:spcAft>
                          <a:spcPts val="0"/>
                        </a:spcAft>
                      </a:pPr>
                      <a:r>
                        <a:rPr lang="en-US" sz="1156" b="1" kern="1400">
                          <a:ln>
                            <a:noFill/>
                          </a:ln>
                          <a:solidFill>
                            <a:srgbClr val="FFFFFF"/>
                          </a:solidFill>
                          <a:effectLst/>
                          <a:latin typeface="Palatino Linotype" panose="02040502050505030304" pitchFamily="18" charset="0"/>
                        </a:rPr>
                        <a:t>Case Capacity</a:t>
                      </a:r>
                      <a:endParaRPr lang="en-US" sz="1272" kern="1400">
                        <a:ln>
                          <a:noFill/>
                        </a:ln>
                        <a:solidFill>
                          <a:srgbClr val="000000"/>
                        </a:solidFill>
                        <a:effectLst/>
                        <a:latin typeface="Palatino Linotype" panose="02040502050505030304" pitchFamily="18"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329E"/>
                    </a:solidFill>
                  </a:tcPr>
                </a:tc>
                <a:extLst>
                  <a:ext uri="{0D108BD9-81ED-4DB2-BD59-A6C34878D82A}">
                    <a16:rowId xmlns:a16="http://schemas.microsoft.com/office/drawing/2014/main" val="1004147531"/>
                  </a:ext>
                </a:extLst>
              </a:tr>
              <a:tr h="301211">
                <a:tc>
                  <a:txBody>
                    <a:bodyPr/>
                    <a:lstStyle/>
                    <a:p>
                      <a:pPr marL="284480" marR="278765" indent="0" algn="ctr" rtl="0">
                        <a:lnSpc>
                          <a:spcPct val="119000"/>
                        </a:lnSpc>
                        <a:spcBef>
                          <a:spcPts val="505"/>
                        </a:spcBef>
                        <a:spcAft>
                          <a:spcPts val="0"/>
                        </a:spcAft>
                      </a:pPr>
                      <a:r>
                        <a:rPr lang="en-US" sz="1000" kern="1400" dirty="0">
                          <a:ln>
                            <a:noFill/>
                          </a:ln>
                          <a:solidFill>
                            <a:srgbClr val="231F20"/>
                          </a:solidFill>
                          <a:effectLst/>
                          <a:latin typeface="Palatino Linotype" panose="02040502050505030304" pitchFamily="18" charset="0"/>
                        </a:rPr>
                        <a:t>Compact Car</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tc>
                  <a:txBody>
                    <a:bodyPr/>
                    <a:lstStyle/>
                    <a:p>
                      <a:pPr marL="283845" marR="278765" indent="0" algn="ctr" rtl="0">
                        <a:lnSpc>
                          <a:spcPct val="119000"/>
                        </a:lnSpc>
                        <a:spcBef>
                          <a:spcPts val="505"/>
                        </a:spcBef>
                        <a:spcAft>
                          <a:spcPts val="0"/>
                        </a:spcAft>
                      </a:pPr>
                      <a:r>
                        <a:rPr lang="en-US" sz="1156" kern="1400" dirty="0">
                          <a:ln>
                            <a:noFill/>
                          </a:ln>
                          <a:solidFill>
                            <a:srgbClr val="000000"/>
                          </a:solidFill>
                          <a:effectLst/>
                          <a:latin typeface="Palatino Linotype" panose="02040502050505030304" pitchFamily="18" charset="0"/>
                        </a:rPr>
                        <a:t>1-23</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extLst>
                  <a:ext uri="{0D108BD9-81ED-4DB2-BD59-A6C34878D82A}">
                    <a16:rowId xmlns:a16="http://schemas.microsoft.com/office/drawing/2014/main" val="3517601062"/>
                  </a:ext>
                </a:extLst>
              </a:tr>
              <a:tr h="297734">
                <a:tc>
                  <a:txBody>
                    <a:bodyPr/>
                    <a:lstStyle/>
                    <a:p>
                      <a:pPr marL="287020" marR="278765" indent="0" algn="ctr" rtl="0">
                        <a:lnSpc>
                          <a:spcPct val="119000"/>
                        </a:lnSpc>
                        <a:spcBef>
                          <a:spcPts val="480"/>
                        </a:spcBef>
                        <a:spcAft>
                          <a:spcPts val="0"/>
                        </a:spcAft>
                      </a:pPr>
                      <a:r>
                        <a:rPr lang="en-US" sz="1000" kern="1400" dirty="0">
                          <a:ln>
                            <a:noFill/>
                          </a:ln>
                          <a:solidFill>
                            <a:srgbClr val="231F20"/>
                          </a:solidFill>
                          <a:effectLst/>
                          <a:latin typeface="Palatino Linotype" panose="02040502050505030304" pitchFamily="18" charset="0"/>
                        </a:rPr>
                        <a:t>Standard</a:t>
                      </a:r>
                      <a:r>
                        <a:rPr lang="en-US" sz="1000" kern="1400" spc="30" dirty="0">
                          <a:ln>
                            <a:noFill/>
                          </a:ln>
                          <a:solidFill>
                            <a:srgbClr val="231F20"/>
                          </a:solidFill>
                          <a:effectLst/>
                          <a:latin typeface="Palatino Linotype" panose="02040502050505030304" pitchFamily="18" charset="0"/>
                        </a:rPr>
                        <a:t> </a:t>
                      </a:r>
                      <a:r>
                        <a:rPr lang="en-US" sz="1000" kern="1400" dirty="0">
                          <a:ln>
                            <a:noFill/>
                          </a:ln>
                          <a:solidFill>
                            <a:srgbClr val="231F20"/>
                          </a:solidFill>
                          <a:effectLst/>
                          <a:latin typeface="Palatino Linotype" panose="02040502050505030304" pitchFamily="18" charset="0"/>
                        </a:rPr>
                        <a:t>Sedan</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tc>
                  <a:txBody>
                    <a:bodyPr/>
                    <a:lstStyle/>
                    <a:p>
                      <a:pPr marL="283845" marR="278765" indent="0" algn="ctr" rtl="0">
                        <a:lnSpc>
                          <a:spcPct val="119000"/>
                        </a:lnSpc>
                        <a:spcBef>
                          <a:spcPts val="480"/>
                        </a:spcBef>
                        <a:spcAft>
                          <a:spcPts val="0"/>
                        </a:spcAft>
                      </a:pPr>
                      <a:r>
                        <a:rPr lang="en-US" sz="1156" kern="1400" dirty="0">
                          <a:ln>
                            <a:noFill/>
                          </a:ln>
                          <a:solidFill>
                            <a:srgbClr val="000000"/>
                          </a:solidFill>
                          <a:effectLst/>
                          <a:latin typeface="Palatino Linotype" panose="02040502050505030304" pitchFamily="18" charset="0"/>
                        </a:rPr>
                        <a:t>20-45</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extLst>
                  <a:ext uri="{0D108BD9-81ED-4DB2-BD59-A6C34878D82A}">
                    <a16:rowId xmlns:a16="http://schemas.microsoft.com/office/drawing/2014/main" val="3114808133"/>
                  </a:ext>
                </a:extLst>
              </a:tr>
              <a:tr h="441481">
                <a:tc>
                  <a:txBody>
                    <a:bodyPr/>
                    <a:lstStyle/>
                    <a:p>
                      <a:pPr marL="207645" marR="198755" indent="38100" algn="l" rtl="0">
                        <a:lnSpc>
                          <a:spcPct val="102000"/>
                        </a:lnSpc>
                        <a:spcBef>
                          <a:spcPts val="375"/>
                        </a:spcBef>
                        <a:spcAft>
                          <a:spcPts val="0"/>
                        </a:spcAft>
                      </a:pPr>
                      <a:r>
                        <a:rPr lang="en-US" sz="1000" kern="1400" dirty="0">
                          <a:ln>
                            <a:noFill/>
                          </a:ln>
                          <a:solidFill>
                            <a:srgbClr val="231F20"/>
                          </a:solidFill>
                          <a:effectLst/>
                          <a:latin typeface="Palatino Linotype" panose="02040502050505030304" pitchFamily="18" charset="0"/>
                        </a:rPr>
                        <a:t>Standard Wagon*</a:t>
                      </a:r>
                      <a:r>
                        <a:rPr lang="en-US" sz="1000" kern="1400" spc="-225" dirty="0">
                          <a:ln>
                            <a:noFill/>
                          </a:ln>
                          <a:solidFill>
                            <a:srgbClr val="231F20"/>
                          </a:solidFill>
                          <a:effectLst/>
                          <a:latin typeface="Palatino Linotype" panose="02040502050505030304" pitchFamily="18" charset="0"/>
                        </a:rPr>
                        <a:t> </a:t>
                      </a:r>
                      <a:r>
                        <a:rPr lang="en-US" sz="1000" kern="1400" dirty="0">
                          <a:ln>
                            <a:noFill/>
                          </a:ln>
                          <a:solidFill>
                            <a:srgbClr val="231F20"/>
                          </a:solidFill>
                          <a:effectLst/>
                          <a:latin typeface="Palatino Linotype" panose="02040502050505030304" pitchFamily="18" charset="0"/>
                        </a:rPr>
                        <a:t>Standard</a:t>
                      </a:r>
                      <a:r>
                        <a:rPr lang="en-US" sz="1000" kern="1400" spc="-40" dirty="0">
                          <a:ln>
                            <a:noFill/>
                          </a:ln>
                          <a:solidFill>
                            <a:srgbClr val="231F20"/>
                          </a:solidFill>
                          <a:effectLst/>
                          <a:latin typeface="Palatino Linotype" panose="02040502050505030304" pitchFamily="18" charset="0"/>
                        </a:rPr>
                        <a:t> </a:t>
                      </a:r>
                      <a:r>
                        <a:rPr lang="en-US" sz="1000" kern="1400" dirty="0">
                          <a:ln>
                            <a:noFill/>
                          </a:ln>
                          <a:solidFill>
                            <a:srgbClr val="231F20"/>
                          </a:solidFill>
                          <a:effectLst/>
                          <a:latin typeface="Palatino Linotype" panose="02040502050505030304" pitchFamily="18" charset="0"/>
                        </a:rPr>
                        <a:t>Pickup**</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tc>
                  <a:txBody>
                    <a:bodyPr/>
                    <a:lstStyle/>
                    <a:p>
                      <a:pPr marL="283845" marR="278765" indent="0" algn="ctr" rtl="0">
                        <a:lnSpc>
                          <a:spcPct val="119000"/>
                        </a:lnSpc>
                        <a:spcBef>
                          <a:spcPts val="975"/>
                        </a:spcBef>
                        <a:spcAft>
                          <a:spcPts val="0"/>
                        </a:spcAft>
                      </a:pPr>
                      <a:r>
                        <a:rPr lang="en-US" sz="1156" kern="1400">
                          <a:ln>
                            <a:noFill/>
                          </a:ln>
                          <a:solidFill>
                            <a:srgbClr val="000000"/>
                          </a:solidFill>
                          <a:effectLst/>
                          <a:latin typeface="Palatino Linotype" panose="02040502050505030304" pitchFamily="18" charset="0"/>
                        </a:rPr>
                        <a:t>45-70</a:t>
                      </a:r>
                      <a:endParaRPr lang="en-US" sz="1272" kern="140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extLst>
                  <a:ext uri="{0D108BD9-81ED-4DB2-BD59-A6C34878D82A}">
                    <a16:rowId xmlns:a16="http://schemas.microsoft.com/office/drawing/2014/main" val="4283284009"/>
                  </a:ext>
                </a:extLst>
              </a:tr>
              <a:tr h="297734">
                <a:tc>
                  <a:txBody>
                    <a:bodyPr/>
                    <a:lstStyle/>
                    <a:p>
                      <a:pPr marL="284480" marR="278765" indent="0" algn="ctr" rtl="0">
                        <a:lnSpc>
                          <a:spcPct val="119000"/>
                        </a:lnSpc>
                        <a:spcBef>
                          <a:spcPts val="480"/>
                        </a:spcBef>
                        <a:spcAft>
                          <a:spcPts val="0"/>
                        </a:spcAft>
                      </a:pPr>
                      <a:r>
                        <a:rPr lang="en-US" sz="1000" kern="1400" dirty="0">
                          <a:ln>
                            <a:noFill/>
                          </a:ln>
                          <a:solidFill>
                            <a:srgbClr val="231F20"/>
                          </a:solidFill>
                          <a:effectLst/>
                          <a:latin typeface="Palatino Linotype" panose="02040502050505030304" pitchFamily="18" charset="0"/>
                        </a:rPr>
                        <a:t>SUV/Minivan*</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tc>
                  <a:txBody>
                    <a:bodyPr/>
                    <a:lstStyle/>
                    <a:p>
                      <a:pPr marL="283845" marR="278765" indent="0" algn="ctr" rtl="0">
                        <a:lnSpc>
                          <a:spcPct val="119000"/>
                        </a:lnSpc>
                        <a:spcBef>
                          <a:spcPts val="480"/>
                        </a:spcBef>
                        <a:spcAft>
                          <a:spcPts val="0"/>
                        </a:spcAft>
                      </a:pPr>
                      <a:r>
                        <a:rPr lang="en-US" sz="1156" kern="1400" dirty="0">
                          <a:ln>
                            <a:noFill/>
                          </a:ln>
                          <a:solidFill>
                            <a:srgbClr val="000000"/>
                          </a:solidFill>
                          <a:effectLst/>
                          <a:latin typeface="Palatino Linotype" panose="02040502050505030304" pitchFamily="18" charset="0"/>
                        </a:rPr>
                        <a:t>50-100</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extLst>
                  <a:ext uri="{0D108BD9-81ED-4DB2-BD59-A6C34878D82A}">
                    <a16:rowId xmlns:a16="http://schemas.microsoft.com/office/drawing/2014/main" val="1597732443"/>
                  </a:ext>
                </a:extLst>
              </a:tr>
              <a:tr h="304691">
                <a:tc>
                  <a:txBody>
                    <a:bodyPr/>
                    <a:lstStyle/>
                    <a:p>
                      <a:pPr marL="287020" marR="278765" indent="0" algn="ctr" rtl="0">
                        <a:lnSpc>
                          <a:spcPct val="119000"/>
                        </a:lnSpc>
                        <a:spcBef>
                          <a:spcPts val="480"/>
                        </a:spcBef>
                        <a:spcAft>
                          <a:spcPts val="0"/>
                        </a:spcAft>
                      </a:pPr>
                      <a:r>
                        <a:rPr lang="en-US" sz="1000" kern="1400">
                          <a:ln>
                            <a:noFill/>
                          </a:ln>
                          <a:solidFill>
                            <a:srgbClr val="231F20"/>
                          </a:solidFill>
                          <a:effectLst/>
                          <a:latin typeface="Palatino Linotype" panose="02040502050505030304" pitchFamily="18" charset="0"/>
                        </a:rPr>
                        <a:t>Standard</a:t>
                      </a:r>
                      <a:r>
                        <a:rPr lang="en-US" sz="1000" kern="1400" spc="-5">
                          <a:ln>
                            <a:noFill/>
                          </a:ln>
                          <a:solidFill>
                            <a:srgbClr val="231F20"/>
                          </a:solidFill>
                          <a:effectLst/>
                          <a:latin typeface="Palatino Linotype" panose="02040502050505030304" pitchFamily="18" charset="0"/>
                        </a:rPr>
                        <a:t> </a:t>
                      </a:r>
                      <a:r>
                        <a:rPr lang="en-US" sz="1000" kern="1400">
                          <a:ln>
                            <a:noFill/>
                          </a:ln>
                          <a:solidFill>
                            <a:srgbClr val="231F20"/>
                          </a:solidFill>
                          <a:effectLst/>
                          <a:latin typeface="Palatino Linotype" panose="02040502050505030304" pitchFamily="18" charset="0"/>
                        </a:rPr>
                        <a:t>Van</a:t>
                      </a:r>
                      <a:endParaRPr lang="en-US" sz="1272" kern="140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tc>
                  <a:txBody>
                    <a:bodyPr/>
                    <a:lstStyle/>
                    <a:p>
                      <a:pPr marL="283845" marR="278765" indent="0" algn="ctr" rtl="0">
                        <a:lnSpc>
                          <a:spcPct val="119000"/>
                        </a:lnSpc>
                        <a:spcBef>
                          <a:spcPts val="480"/>
                        </a:spcBef>
                        <a:spcAft>
                          <a:spcPts val="0"/>
                        </a:spcAft>
                      </a:pPr>
                      <a:r>
                        <a:rPr lang="en-US" sz="1156" kern="1400" dirty="0">
                          <a:ln>
                            <a:noFill/>
                          </a:ln>
                          <a:solidFill>
                            <a:srgbClr val="000000"/>
                          </a:solidFill>
                          <a:effectLst/>
                          <a:latin typeface="Palatino Linotype" panose="02040502050505030304" pitchFamily="18" charset="0"/>
                        </a:rPr>
                        <a:t>150-200</a:t>
                      </a:r>
                      <a:endParaRPr lang="en-US" sz="1272" kern="1400" dirty="0">
                        <a:ln>
                          <a:noFill/>
                        </a:ln>
                        <a:solidFill>
                          <a:srgbClr val="000000"/>
                        </a:solidFill>
                        <a:effectLst/>
                        <a:latin typeface="Palatino Linotype" panose="02040502050505030304" pitchFamily="18" charset="0"/>
                      </a:endParaRPr>
                    </a:p>
                  </a:txBody>
                  <a:tcPr marL="0" marR="0" marT="0" marB="0">
                    <a:lnL w="12700" cap="flat" cmpd="sng" algn="ctr">
                      <a:solidFill>
                        <a:srgbClr val="EF5BA1"/>
                      </a:solidFill>
                      <a:prstDash val="solid"/>
                      <a:round/>
                      <a:headEnd type="none" w="med" len="med"/>
                      <a:tailEnd type="none" w="med" len="med"/>
                    </a:lnL>
                    <a:lnR w="12700" cap="flat" cmpd="sng" algn="ctr">
                      <a:solidFill>
                        <a:srgbClr val="EF5BA1"/>
                      </a:solidFill>
                      <a:prstDash val="solid"/>
                      <a:round/>
                      <a:headEnd type="none" w="med" len="med"/>
                      <a:tailEnd type="none" w="med" len="med"/>
                    </a:lnR>
                    <a:lnT w="12700" cap="flat" cmpd="sng" algn="ctr">
                      <a:solidFill>
                        <a:srgbClr val="EF5BA1"/>
                      </a:solidFill>
                      <a:prstDash val="solid"/>
                      <a:round/>
                      <a:headEnd type="none" w="med" len="med"/>
                      <a:tailEnd type="none" w="med" len="med"/>
                    </a:lnT>
                    <a:lnB w="12700" cap="flat" cmpd="sng" algn="ctr">
                      <a:solidFill>
                        <a:srgbClr val="EF5BA1"/>
                      </a:solidFill>
                      <a:prstDash val="solid"/>
                      <a:round/>
                      <a:headEnd type="none" w="med" len="med"/>
                      <a:tailEnd type="none" w="med" len="med"/>
                    </a:lnB>
                    <a:solidFill>
                      <a:srgbClr val="F7ABD6"/>
                    </a:solidFill>
                  </a:tcPr>
                </a:tc>
                <a:extLst>
                  <a:ext uri="{0D108BD9-81ED-4DB2-BD59-A6C34878D82A}">
                    <a16:rowId xmlns:a16="http://schemas.microsoft.com/office/drawing/2014/main" val="318703717"/>
                  </a:ext>
                </a:extLst>
              </a:tr>
            </a:tbl>
          </a:graphicData>
        </a:graphic>
      </p:graphicFrame>
    </p:spTree>
    <p:extLst>
      <p:ext uri="{BB962C8B-B14F-4D97-AF65-F5344CB8AC3E}">
        <p14:creationId xmlns:p14="http://schemas.microsoft.com/office/powerpoint/2010/main" val="67751959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661085" y="-1064137"/>
            <a:ext cx="9528658" cy="8876545"/>
          </a:xfrm>
          <a:prstGeom prst="rect">
            <a:avLst/>
          </a:prstGeom>
        </p:spPr>
      </p:pic>
      <p:pic>
        <p:nvPicPr>
          <p:cNvPr id="5" name="Picture 4"/>
          <p:cNvPicPr>
            <a:picLocks noChangeAspect="1"/>
          </p:cNvPicPr>
          <p:nvPr/>
        </p:nvPicPr>
        <p:blipFill>
          <a:blip r:embed="rId3"/>
          <a:stretch>
            <a:fillRect/>
          </a:stretch>
        </p:blipFill>
        <p:spPr>
          <a:xfrm rot="21047093">
            <a:off x="3304549" y="3045022"/>
            <a:ext cx="8181888" cy="2614039"/>
          </a:xfrm>
          <a:prstGeom prst="rect">
            <a:avLst/>
          </a:prstGeom>
        </p:spPr>
      </p:pic>
      <p:pic>
        <p:nvPicPr>
          <p:cNvPr id="6" name="Picture 5"/>
          <p:cNvPicPr>
            <a:picLocks noChangeAspect="1"/>
          </p:cNvPicPr>
          <p:nvPr/>
        </p:nvPicPr>
        <p:blipFill>
          <a:blip r:embed="rId4"/>
          <a:stretch>
            <a:fillRect/>
          </a:stretch>
        </p:blipFill>
        <p:spPr>
          <a:xfrm>
            <a:off x="4335489" y="3104784"/>
            <a:ext cx="1121761" cy="1359526"/>
          </a:xfrm>
          <a:prstGeom prst="rect">
            <a:avLst/>
          </a:prstGeom>
        </p:spPr>
      </p:pic>
      <p:pic>
        <p:nvPicPr>
          <p:cNvPr id="7" name="Graphic 17">
            <a:extLst>
              <a:ext uri="{FF2B5EF4-FFF2-40B4-BE49-F238E27FC236}">
                <a16:creationId xmlns:a16="http://schemas.microsoft.com/office/drawing/2014/main" id="{40FBB532-8F3F-8E8F-D558-A5F7DF7D1410}"/>
              </a:ext>
            </a:extLst>
          </p:cNvPr>
          <p:cNvPicPr>
            <a:picLocks noChangeAspect="1"/>
          </p:cNvPicPr>
          <p:nvPr/>
        </p:nvPicPr>
        <p:blipFill>
          <a:blip r:embed="rId5">
            <a:extLst>
              <a:ext uri="{96DAC541-7B7A-43D3-8B79-37D633B846F1}">
                <asvg:svgBlip xmlns="" xmlns:asvg="http://schemas.microsoft.com/office/drawing/2016/SVG/main" r:embed="rId7"/>
              </a:ext>
            </a:extLst>
          </a:blip>
          <a:stretch>
            <a:fillRect/>
          </a:stretch>
        </p:blipFill>
        <p:spPr>
          <a:xfrm rot="6529494">
            <a:off x="10729206" y="4200090"/>
            <a:ext cx="1158331" cy="879342"/>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8"/>
          <a:stretch>
            <a:fillRect/>
          </a:stretch>
        </p:blipFill>
        <p:spPr>
          <a:xfrm rot="20681496">
            <a:off x="526183" y="752261"/>
            <a:ext cx="2862676" cy="3308502"/>
          </a:xfrm>
          <a:prstGeom prst="rect">
            <a:avLst/>
          </a:prstGeom>
        </p:spPr>
      </p:pic>
    </p:spTree>
    <p:extLst>
      <p:ext uri="{BB962C8B-B14F-4D97-AF65-F5344CB8AC3E}">
        <p14:creationId xmlns:p14="http://schemas.microsoft.com/office/powerpoint/2010/main" val="20343807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60C52-4A62-40FC-B78C-E8F8044F3BE5}"/>
              </a:ext>
            </a:extLst>
          </p:cNvPr>
          <p:cNvSpPr>
            <a:spLocks noGrp="1"/>
          </p:cNvSpPr>
          <p:nvPr>
            <p:ph type="title"/>
          </p:nvPr>
        </p:nvSpPr>
        <p:spPr/>
        <p:txBody>
          <a:bodyPr/>
          <a:lstStyle/>
          <a:p>
            <a:r>
              <a:rPr lang="en-US" b="0" i="1" dirty="0"/>
              <a:t>Our </a:t>
            </a:r>
            <a:r>
              <a:rPr lang="en-US" dirty="0"/>
              <a:t>2023 COOKIE LINEUP</a:t>
            </a:r>
          </a:p>
        </p:txBody>
      </p:sp>
      <p:sp>
        <p:nvSpPr>
          <p:cNvPr id="4" name="Date Placeholder 3">
            <a:extLst>
              <a:ext uri="{FF2B5EF4-FFF2-40B4-BE49-F238E27FC236}">
                <a16:creationId xmlns:a16="http://schemas.microsoft.com/office/drawing/2014/main" id="{CF0BF732-5E4B-461B-BE47-B6772756666D}"/>
              </a:ext>
            </a:extLst>
          </p:cNvPr>
          <p:cNvSpPr>
            <a:spLocks noGrp="1"/>
          </p:cNvSpPr>
          <p:nvPr>
            <p:ph type="dt" sz="half" idx="4294967295"/>
          </p:nvPr>
        </p:nvSpPr>
        <p:spPr>
          <a:xfrm>
            <a:off x="0" y="6356350"/>
            <a:ext cx="2387600"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A0A0A"/>
                </a:solidFill>
                <a:effectLst/>
                <a:uLnTx/>
                <a:uFillTx/>
                <a:latin typeface="Calibri" panose="020F0502020204030204"/>
                <a:ea typeface="+mn-ea"/>
                <a:cs typeface="+mn-cs"/>
              </a:rPr>
              <a:t>CONFIDENTIAL &amp; PROPRIETARY</a:t>
            </a:r>
          </a:p>
        </p:txBody>
      </p:sp>
      <p:grpSp>
        <p:nvGrpSpPr>
          <p:cNvPr id="17" name="Group 16">
            <a:extLst>
              <a:ext uri="{FF2B5EF4-FFF2-40B4-BE49-F238E27FC236}">
                <a16:creationId xmlns:a16="http://schemas.microsoft.com/office/drawing/2014/main" id="{3913B0BC-85D8-49ED-8F6A-7534107AD5AB}"/>
              </a:ext>
            </a:extLst>
          </p:cNvPr>
          <p:cNvGrpSpPr/>
          <p:nvPr/>
        </p:nvGrpSpPr>
        <p:grpSpPr>
          <a:xfrm>
            <a:off x="4747419" y="663254"/>
            <a:ext cx="6572621" cy="5120640"/>
            <a:chOff x="4998777" y="1307943"/>
            <a:chExt cx="6851108" cy="5486544"/>
          </a:xfrm>
        </p:grpSpPr>
        <p:pic>
          <p:nvPicPr>
            <p:cNvPr id="10" name="Picture 9">
              <a:extLst>
                <a:ext uri="{FF2B5EF4-FFF2-40B4-BE49-F238E27FC236}">
                  <a16:creationId xmlns:a16="http://schemas.microsoft.com/office/drawing/2014/main" id="{D0D82C05-383E-42CE-8CD2-FDC73F6606CA}"/>
                </a:ext>
              </a:extLst>
            </p:cNvPr>
            <p:cNvPicPr>
              <a:picLocks noChangeAspect="1"/>
            </p:cNvPicPr>
            <p:nvPr/>
          </p:nvPicPr>
          <p:blipFill>
            <a:blip r:embed="rId3"/>
            <a:stretch>
              <a:fillRect/>
            </a:stretch>
          </p:blipFill>
          <p:spPr>
            <a:xfrm>
              <a:off x="4998778" y="1307943"/>
              <a:ext cx="6851107" cy="3657600"/>
            </a:xfrm>
            <a:prstGeom prst="rect">
              <a:avLst/>
            </a:prstGeom>
          </p:spPr>
        </p:pic>
        <p:pic>
          <p:nvPicPr>
            <p:cNvPr id="13" name="Picture 12">
              <a:extLst>
                <a:ext uri="{FF2B5EF4-FFF2-40B4-BE49-F238E27FC236}">
                  <a16:creationId xmlns:a16="http://schemas.microsoft.com/office/drawing/2014/main" id="{4F8C539C-ED28-4DB4-AB80-1976C756E2BA}"/>
                </a:ext>
              </a:extLst>
            </p:cNvPr>
            <p:cNvPicPr>
              <a:picLocks noChangeAspect="1"/>
            </p:cNvPicPr>
            <p:nvPr/>
          </p:nvPicPr>
          <p:blipFill>
            <a:blip r:embed="rId4"/>
            <a:stretch>
              <a:fillRect/>
            </a:stretch>
          </p:blipFill>
          <p:spPr>
            <a:xfrm>
              <a:off x="4998777" y="4965542"/>
              <a:ext cx="4572363" cy="1828945"/>
            </a:xfrm>
            <a:prstGeom prst="rect">
              <a:avLst/>
            </a:prstGeom>
          </p:spPr>
        </p:pic>
        <p:pic>
          <p:nvPicPr>
            <p:cNvPr id="16" name="Picture 15">
              <a:extLst>
                <a:ext uri="{FF2B5EF4-FFF2-40B4-BE49-F238E27FC236}">
                  <a16:creationId xmlns:a16="http://schemas.microsoft.com/office/drawing/2014/main" id="{01D07FEB-F2D8-4E31-BCBD-0963EAB1939B}"/>
                </a:ext>
              </a:extLst>
            </p:cNvPr>
            <p:cNvPicPr>
              <a:picLocks noChangeAspect="1"/>
            </p:cNvPicPr>
            <p:nvPr/>
          </p:nvPicPr>
          <p:blipFill>
            <a:blip r:embed="rId5"/>
            <a:stretch>
              <a:fillRect/>
            </a:stretch>
          </p:blipFill>
          <p:spPr>
            <a:xfrm>
              <a:off x="9559267" y="4965541"/>
              <a:ext cx="2290618" cy="1828800"/>
            </a:xfrm>
            <a:prstGeom prst="rect">
              <a:avLst/>
            </a:prstGeom>
          </p:spPr>
        </p:pic>
      </p:grpSp>
      <p:pic>
        <p:nvPicPr>
          <p:cNvPr id="19" name="Picture 18">
            <a:extLst>
              <a:ext uri="{FF2B5EF4-FFF2-40B4-BE49-F238E27FC236}">
                <a16:creationId xmlns:a16="http://schemas.microsoft.com/office/drawing/2014/main" id="{1D4C19E4-6A4A-40D7-A1C2-EDA72F83ABE0}"/>
              </a:ext>
            </a:extLst>
          </p:cNvPr>
          <p:cNvPicPr>
            <a:picLocks noChangeAspect="1"/>
          </p:cNvPicPr>
          <p:nvPr/>
        </p:nvPicPr>
        <p:blipFill>
          <a:blip r:embed="rId6"/>
          <a:stretch>
            <a:fillRect/>
          </a:stretch>
        </p:blipFill>
        <p:spPr>
          <a:xfrm>
            <a:off x="711189" y="1488588"/>
            <a:ext cx="4026835" cy="3200400"/>
          </a:xfrm>
          <a:prstGeom prst="rect">
            <a:avLst/>
          </a:prstGeom>
        </p:spPr>
      </p:pic>
    </p:spTree>
    <p:extLst>
      <p:ext uri="{BB962C8B-B14F-4D97-AF65-F5344CB8AC3E}">
        <p14:creationId xmlns:p14="http://schemas.microsoft.com/office/powerpoint/2010/main" val="10567733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AA0061"/>
                </a:solidFill>
                <a:latin typeface="Girl Scout Text Medium" panose="02020003000000000000" pitchFamily="18" charset="0"/>
              </a:rPr>
              <a:t>Raspberry Rally</a:t>
            </a:r>
            <a:r>
              <a:rPr lang="en-US" sz="1800" dirty="0">
                <a:solidFill>
                  <a:srgbClr val="AA0061"/>
                </a:solidFill>
                <a:latin typeface="Girl Scout Text Medium" panose="02020003000000000000" pitchFamily="18" charset="0"/>
              </a:rPr>
              <a:t>™</a:t>
            </a:r>
            <a:br>
              <a:rPr lang="en-US" sz="1800" dirty="0">
                <a:solidFill>
                  <a:srgbClr val="AA0061"/>
                </a:solidFill>
                <a:latin typeface="Girl Scout Text Medium" panose="02020003000000000000" pitchFamily="18" charset="0"/>
              </a:rPr>
            </a:br>
            <a:endParaRPr lang="en-US" dirty="0"/>
          </a:p>
        </p:txBody>
      </p:sp>
      <p:sp>
        <p:nvSpPr>
          <p:cNvPr id="3" name="Rectangle 2"/>
          <p:cNvSpPr/>
          <p:nvPr/>
        </p:nvSpPr>
        <p:spPr>
          <a:xfrm>
            <a:off x="768096" y="1060704"/>
            <a:ext cx="6876288" cy="2985433"/>
          </a:xfrm>
          <a:prstGeom prst="rect">
            <a:avLst/>
          </a:prstGeom>
        </p:spPr>
        <p:txBody>
          <a:bodyPr wrap="square">
            <a:spAutoFit/>
          </a:bodyPr>
          <a:lstStyle/>
          <a:p>
            <a:r>
              <a:rPr lang="en-US" sz="2800" dirty="0" smtClean="0">
                <a:latin typeface="Century Gothic" panose="020B0502020202020204" pitchFamily="34" charset="0"/>
              </a:rPr>
              <a:t>The first Girl Scout Cookie offered exclusively online </a:t>
            </a:r>
            <a:r>
              <a:rPr lang="en-US" b="1" dirty="0" smtClean="0">
                <a:solidFill>
                  <a:srgbClr val="AA0061"/>
                </a:solidFill>
                <a:latin typeface="Century Gothic" panose="020B0502020202020204" pitchFamily="34" charset="0"/>
              </a:rPr>
              <a:t>for shipping only</a:t>
            </a:r>
            <a:r>
              <a:rPr lang="en-US" sz="2800" dirty="0" smtClean="0">
                <a:latin typeface="Century Gothic" panose="020B0502020202020204" pitchFamily="34" charset="0"/>
              </a:rPr>
              <a:t>!</a:t>
            </a:r>
          </a:p>
          <a:p>
            <a:pPr lvl="1"/>
            <a:r>
              <a:rPr lang="en-US" sz="2200" dirty="0" smtClean="0">
                <a:latin typeface="Century Gothic" panose="020B0502020202020204" pitchFamily="34" charset="0"/>
              </a:rPr>
              <a:t>Simplicity for volunteers and girls, no handling necessary</a:t>
            </a:r>
          </a:p>
          <a:p>
            <a:pPr lvl="1"/>
            <a:r>
              <a:rPr lang="en-US" sz="2200" dirty="0" smtClean="0">
                <a:latin typeface="Century Gothic" panose="020B0502020202020204" pitchFamily="34" charset="0"/>
              </a:rPr>
              <a:t>Easy inventory management</a:t>
            </a:r>
          </a:p>
          <a:p>
            <a:pPr lvl="1"/>
            <a:r>
              <a:rPr lang="en-US" sz="2200" dirty="0" smtClean="0">
                <a:latin typeface="Century Gothic" panose="020B0502020202020204" pitchFamily="34" charset="0"/>
              </a:rPr>
              <a:t>Opportunity for girls to learn about and participate in rapidly growing online shopping trends, and practice </a:t>
            </a:r>
            <a:r>
              <a:rPr lang="en-US" sz="2200" dirty="0" err="1" smtClean="0">
                <a:latin typeface="Century Gothic" panose="020B0502020202020204" pitchFamily="34" charset="0"/>
              </a:rPr>
              <a:t>omni</a:t>
            </a:r>
            <a:r>
              <a:rPr lang="en-US" sz="2200" dirty="0" smtClean="0">
                <a:latin typeface="Century Gothic" panose="020B0502020202020204" pitchFamily="34" charset="0"/>
              </a:rPr>
              <a:t>-channel selling skills</a:t>
            </a:r>
            <a:endParaRPr lang="en-US" sz="2200" dirty="0">
              <a:latin typeface="Century Gothic" panose="020B0502020202020204" pitchFamily="34" charset="0"/>
            </a:endParaRPr>
          </a:p>
        </p:txBody>
      </p:sp>
      <p:pic>
        <p:nvPicPr>
          <p:cNvPr id="4" name="Picture 3"/>
          <p:cNvPicPr>
            <a:picLocks noChangeAspect="1"/>
          </p:cNvPicPr>
          <p:nvPr/>
        </p:nvPicPr>
        <p:blipFill>
          <a:blip r:embed="rId3"/>
          <a:stretch>
            <a:fillRect/>
          </a:stretch>
        </p:blipFill>
        <p:spPr>
          <a:xfrm rot="20492344">
            <a:off x="7206524" y="2889503"/>
            <a:ext cx="5229314" cy="3364379"/>
          </a:xfrm>
          <a:prstGeom prst="rect">
            <a:avLst/>
          </a:prstGeom>
        </p:spPr>
      </p:pic>
      <p:sp>
        <p:nvSpPr>
          <p:cNvPr id="5" name="TextBox 4">
            <a:extLst>
              <a:ext uri="{FF2B5EF4-FFF2-40B4-BE49-F238E27FC236}">
                <a16:creationId xmlns:a16="http://schemas.microsoft.com/office/drawing/2014/main" id="{7F63DFBF-89AB-8C23-601B-C9B149C478D6}"/>
              </a:ext>
            </a:extLst>
          </p:cNvPr>
          <p:cNvSpPr txBox="1"/>
          <p:nvPr/>
        </p:nvSpPr>
        <p:spPr>
          <a:xfrm>
            <a:off x="277760" y="4553712"/>
            <a:ext cx="2583299" cy="1170432"/>
          </a:xfrm>
          <a:prstGeom prst="roundRect">
            <a:avLst>
              <a:gd name="adj" fmla="val 15105"/>
            </a:avLst>
          </a:prstGeom>
          <a:solidFill>
            <a:srgbClr val="AA0061"/>
          </a:solidFill>
          <a:ln w="63500">
            <a:solidFill>
              <a:schemeClr val="bg1"/>
            </a:solidFill>
          </a:ln>
          <a:effectLst>
            <a:outerShdw blurRad="50800" dist="38100" dir="2700000" algn="tl" rotWithShape="0">
              <a:prstClr val="black">
                <a:alpha val="26000"/>
              </a:prstClr>
            </a:outerShdw>
          </a:effectLst>
        </p:spPr>
        <p:txBody>
          <a:bodyPr wrap="square" lIns="0" tIns="0" rIns="0" bIns="0" anchor="ctr">
            <a:noAutofit/>
          </a:bodyPr>
          <a:lstStyle>
            <a:defPPr>
              <a:defRPr lang="en-US"/>
            </a:defPPr>
            <a:lvl1pPr marR="0" lvl="0" indent="0" algn="ctr" defTabSz="914400" fontAlgn="auto">
              <a:lnSpc>
                <a:spcPct val="90000"/>
              </a:lnSpc>
              <a:spcBef>
                <a:spcPts val="1000"/>
              </a:spcBef>
              <a:spcAft>
                <a:spcPts val="0"/>
              </a:spcAft>
              <a:buClrTx/>
              <a:buSzTx/>
              <a:buFont typeface="Arial" panose="020B0604020202020204" pitchFamily="34" charset="0"/>
              <a:buNone/>
              <a:tabLst/>
              <a:defRPr kumimoji="0" b="1" i="0" u="none" strike="noStrike" cap="none" spc="0" normalizeH="0" baseline="0">
                <a:ln>
                  <a:noFill/>
                </a:ln>
                <a:solidFill>
                  <a:prstClr val="white"/>
                </a:solidFill>
                <a:effectLst/>
                <a:uLnTx/>
                <a:uFillTx/>
                <a:latin typeface="Century Gothic" panose="020B0502020202020204" pitchFamily="34" charset="0"/>
              </a:defRPr>
            </a:lvl1pPr>
            <a:lvl2pPr indent="0" defTabSz="914400">
              <a:lnSpc>
                <a:spcPct val="90000"/>
              </a:lnSpc>
              <a:spcBef>
                <a:spcPts val="500"/>
              </a:spcBef>
              <a:buSzPct val="80000"/>
              <a:buFont typeface="Courier New" panose="02070309020205020404" pitchFamily="49" charset="0"/>
              <a:buNone/>
              <a:defRPr sz="2000">
                <a:solidFill>
                  <a:schemeClr val="tx1">
                    <a:tint val="75000"/>
                  </a:schemeClr>
                </a:solidFill>
              </a:defRPr>
            </a:lvl2pPr>
            <a:lvl3pPr indent="0" defTabSz="914400">
              <a:lnSpc>
                <a:spcPct val="90000"/>
              </a:lnSpc>
              <a:spcBef>
                <a:spcPts val="500"/>
              </a:spcBef>
              <a:buFont typeface="Wingdings" panose="05000000000000000000" pitchFamily="2" charset="2"/>
              <a:buNone/>
              <a:defRPr>
                <a:solidFill>
                  <a:schemeClr val="tx1">
                    <a:tint val="75000"/>
                  </a:schemeClr>
                </a:solidFill>
              </a:defRPr>
            </a:lvl3pPr>
            <a:lvl4pPr indent="0" defTabSz="914400">
              <a:lnSpc>
                <a:spcPct val="90000"/>
              </a:lnSpc>
              <a:spcBef>
                <a:spcPts val="500"/>
              </a:spcBef>
              <a:buSzPct val="80000"/>
              <a:buFont typeface="Wingdings" panose="05000000000000000000" pitchFamily="2" charset="2"/>
              <a:buNone/>
              <a:defRPr sz="1600">
                <a:solidFill>
                  <a:schemeClr val="tx1">
                    <a:tint val="75000"/>
                  </a:schemeClr>
                </a:solidFill>
              </a:defRPr>
            </a:lvl4pPr>
            <a:lvl5pPr indent="0" defTabSz="914400">
              <a:lnSpc>
                <a:spcPct val="90000"/>
              </a:lnSpc>
              <a:spcBef>
                <a:spcPts val="500"/>
              </a:spcBef>
              <a:buFont typeface="Wingdings" panose="05000000000000000000" pitchFamily="2" charset="2"/>
              <a:buNone/>
              <a:defRPr sz="1600">
                <a:solidFill>
                  <a:schemeClr val="tx1">
                    <a:tint val="75000"/>
                  </a:schemeClr>
                </a:solidFill>
              </a:defRPr>
            </a:lvl5pPr>
            <a:lvl6pPr indent="0" defTabSz="914400">
              <a:lnSpc>
                <a:spcPct val="90000"/>
              </a:lnSpc>
              <a:spcBef>
                <a:spcPts val="500"/>
              </a:spcBef>
              <a:buFont typeface="Arial" panose="020B0604020202020204" pitchFamily="34" charset="0"/>
              <a:buNone/>
              <a:defRPr sz="1600">
                <a:solidFill>
                  <a:schemeClr val="tx1">
                    <a:tint val="75000"/>
                  </a:schemeClr>
                </a:solidFill>
              </a:defRPr>
            </a:lvl6pPr>
            <a:lvl7pPr indent="0" defTabSz="914400">
              <a:lnSpc>
                <a:spcPct val="90000"/>
              </a:lnSpc>
              <a:spcBef>
                <a:spcPts val="500"/>
              </a:spcBef>
              <a:buFont typeface="Arial" panose="020B0604020202020204" pitchFamily="34" charset="0"/>
              <a:buNone/>
              <a:defRPr sz="1600">
                <a:solidFill>
                  <a:schemeClr val="tx1">
                    <a:tint val="75000"/>
                  </a:schemeClr>
                </a:solidFill>
              </a:defRPr>
            </a:lvl7pPr>
            <a:lvl8pPr indent="0" defTabSz="914400">
              <a:lnSpc>
                <a:spcPct val="90000"/>
              </a:lnSpc>
              <a:spcBef>
                <a:spcPts val="500"/>
              </a:spcBef>
              <a:buFont typeface="Arial" panose="020B0604020202020204" pitchFamily="34" charset="0"/>
              <a:buNone/>
              <a:defRPr sz="1600">
                <a:solidFill>
                  <a:schemeClr val="tx1">
                    <a:tint val="75000"/>
                  </a:schemeClr>
                </a:solidFill>
              </a:defRPr>
            </a:lvl8pPr>
            <a:lvl9pPr indent="0" defTabSz="914400">
              <a:lnSpc>
                <a:spcPct val="90000"/>
              </a:lnSpc>
              <a:spcBef>
                <a:spcPts val="500"/>
              </a:spcBef>
              <a:buFont typeface="Arial" panose="020B0604020202020204" pitchFamily="34" charset="0"/>
              <a:buNone/>
              <a:defRPr sz="1600">
                <a:solidFill>
                  <a:schemeClr val="tx1">
                    <a:tint val="75000"/>
                  </a:schemeClr>
                </a:solidFill>
              </a:defRPr>
            </a:lvl9pPr>
          </a:lstStyle>
          <a:p>
            <a:r>
              <a:rPr lang="en-US" sz="1600" dirty="0">
                <a:latin typeface="Girl Scout Display Light" panose="02020003000000000000" pitchFamily="18" charset="0"/>
              </a:rPr>
              <a:t>Raspberry Rally featured on the bottom, not with the other cookies</a:t>
            </a:r>
          </a:p>
        </p:txBody>
      </p:sp>
      <p:pic>
        <p:nvPicPr>
          <p:cNvPr id="6" name="Picture 5"/>
          <p:cNvPicPr>
            <a:picLocks noChangeAspect="1"/>
          </p:cNvPicPr>
          <p:nvPr/>
        </p:nvPicPr>
        <p:blipFill>
          <a:blip r:embed="rId4"/>
          <a:stretch>
            <a:fillRect/>
          </a:stretch>
        </p:blipFill>
        <p:spPr>
          <a:xfrm>
            <a:off x="8017766" y="512065"/>
            <a:ext cx="3284218" cy="1636051"/>
          </a:xfrm>
          <a:prstGeom prst="rect">
            <a:avLst/>
          </a:prstGeom>
        </p:spPr>
      </p:pic>
      <p:pic>
        <p:nvPicPr>
          <p:cNvPr id="7" name="Picture 6"/>
          <p:cNvPicPr>
            <a:picLocks noChangeAspect="1"/>
          </p:cNvPicPr>
          <p:nvPr/>
        </p:nvPicPr>
        <p:blipFill>
          <a:blip r:embed="rId5"/>
          <a:stretch>
            <a:fillRect/>
          </a:stretch>
        </p:blipFill>
        <p:spPr>
          <a:xfrm>
            <a:off x="3274945" y="4553712"/>
            <a:ext cx="3275321" cy="1170432"/>
          </a:xfrm>
          <a:prstGeom prst="rect">
            <a:avLst/>
          </a:prstGeom>
        </p:spPr>
      </p:pic>
    </p:spTree>
    <p:extLst>
      <p:ext uri="{BB962C8B-B14F-4D97-AF65-F5344CB8AC3E}">
        <p14:creationId xmlns:p14="http://schemas.microsoft.com/office/powerpoint/2010/main" val="34724696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rot="20098628" flipH="1">
            <a:off x="633938" y="5593168"/>
            <a:ext cx="114577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mn-cs"/>
              </a:rPr>
              <a:t>FPO</a:t>
            </a:r>
          </a:p>
        </p:txBody>
      </p:sp>
      <p:sp>
        <p:nvSpPr>
          <p:cNvPr id="2" name="Title 1">
            <a:extLst>
              <a:ext uri="{FF2B5EF4-FFF2-40B4-BE49-F238E27FC236}">
                <a16:creationId xmlns:a16="http://schemas.microsoft.com/office/drawing/2014/main" id="{F9C4F363-3647-4938-82DE-BC5C03F0F6B3}"/>
              </a:ext>
            </a:extLst>
          </p:cNvPr>
          <p:cNvSpPr>
            <a:spLocks noGrp="1"/>
          </p:cNvSpPr>
          <p:nvPr>
            <p:ph type="title"/>
          </p:nvPr>
        </p:nvSpPr>
        <p:spPr/>
        <p:txBody>
          <a:bodyPr/>
          <a:lstStyle/>
          <a:p>
            <a:r>
              <a:rPr lang="en-US" dirty="0" smtClean="0"/>
              <a:t>Hooray for Cookies!</a:t>
            </a:r>
            <a:br>
              <a:rPr lang="en-US" dirty="0" smtClean="0"/>
            </a:br>
            <a:r>
              <a:rPr lang="en-US" dirty="0"/>
              <a:t/>
            </a:r>
            <a:br>
              <a:rPr lang="en-US" dirty="0"/>
            </a:br>
            <a:endParaRPr lang="en-US" dirty="0"/>
          </a:p>
        </p:txBody>
      </p:sp>
      <p:sp>
        <p:nvSpPr>
          <p:cNvPr id="3" name="Text Placeholder 2">
            <a:extLst>
              <a:ext uri="{FF2B5EF4-FFF2-40B4-BE49-F238E27FC236}">
                <a16:creationId xmlns:a16="http://schemas.microsoft.com/office/drawing/2014/main" id="{8B353AE6-C204-4584-A3A1-DA802D0F2321}"/>
              </a:ext>
            </a:extLst>
          </p:cNvPr>
          <p:cNvSpPr>
            <a:spLocks noGrp="1"/>
          </p:cNvSpPr>
          <p:nvPr>
            <p:ph type="body" idx="1"/>
          </p:nvPr>
        </p:nvSpPr>
        <p:spPr>
          <a:xfrm>
            <a:off x="228598" y="1422796"/>
            <a:ext cx="10189397" cy="452598"/>
          </a:xfrm>
        </p:spPr>
        <p:txBody>
          <a:bodyPr/>
          <a:lstStyle/>
          <a:p>
            <a:r>
              <a:rPr lang="en-US" dirty="0" smtClean="0">
                <a:solidFill>
                  <a:srgbClr val="7030A0"/>
                </a:solidFill>
              </a:rPr>
              <a:t>Initial Order </a:t>
            </a:r>
            <a:r>
              <a:rPr lang="en-US" dirty="0" smtClean="0"/>
              <a:t>phase   2/10-3/26</a:t>
            </a:r>
          </a:p>
          <a:p>
            <a:r>
              <a:rPr lang="en-US" dirty="0" smtClean="0"/>
              <a:t>	Digital Cookie opens for volunteers 2/3, for families 2/9</a:t>
            </a:r>
          </a:p>
          <a:p>
            <a:endParaRPr lang="en-US" dirty="0"/>
          </a:p>
          <a:p>
            <a:r>
              <a:rPr lang="en-US" sz="2800" dirty="0" smtClean="0">
                <a:solidFill>
                  <a:srgbClr val="7030A0"/>
                </a:solidFill>
              </a:rPr>
              <a:t>Goal Getter </a:t>
            </a:r>
            <a:r>
              <a:rPr lang="en-US" dirty="0" smtClean="0"/>
              <a:t>3/27-5/14</a:t>
            </a:r>
          </a:p>
          <a:p>
            <a:endParaRPr lang="en-US" dirty="0"/>
          </a:p>
          <a:p>
            <a:r>
              <a:rPr lang="en-US" sz="2800" dirty="0" smtClean="0">
                <a:solidFill>
                  <a:srgbClr val="7030A0"/>
                </a:solidFill>
              </a:rPr>
              <a:t>Booth sales </a:t>
            </a:r>
          </a:p>
          <a:p>
            <a:r>
              <a:rPr lang="en-US" dirty="0" smtClean="0"/>
              <a:t>	March Booth sales 3/10-3/26</a:t>
            </a:r>
          </a:p>
          <a:p>
            <a:endParaRPr lang="en-US" dirty="0" smtClean="0"/>
          </a:p>
          <a:p>
            <a:r>
              <a:rPr lang="en-US" dirty="0" smtClean="0"/>
              <a:t>	Regular Booth sales 4/21-5/14</a:t>
            </a:r>
            <a:endParaRPr lang="en-US" dirty="0"/>
          </a:p>
        </p:txBody>
      </p:sp>
    </p:spTree>
    <p:extLst>
      <p:ext uri="{BB962C8B-B14F-4D97-AF65-F5344CB8AC3E}">
        <p14:creationId xmlns:p14="http://schemas.microsoft.com/office/powerpoint/2010/main" val="175956032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r>
              <a:rPr lang="en-US"/>
              <a:t>CONFIDENTIAL &amp; PROPRIETARY</a:t>
            </a:r>
            <a:endParaRPr lang="en-US" dirty="0"/>
          </a:p>
        </p:txBody>
      </p:sp>
      <p:sp>
        <p:nvSpPr>
          <p:cNvPr id="4" name="Title 3"/>
          <p:cNvSpPr>
            <a:spLocks noGrp="1"/>
          </p:cNvSpPr>
          <p:nvPr>
            <p:ph type="title"/>
          </p:nvPr>
        </p:nvSpPr>
        <p:spPr/>
        <p:txBody>
          <a:bodyPr/>
          <a:lstStyle/>
          <a:p>
            <a:pPr algn="ctr"/>
            <a:r>
              <a:rPr lang="en-US" dirty="0" smtClean="0"/>
              <a:t>Initial Order 2/10-3/26</a:t>
            </a:r>
            <a:endParaRPr lang="en-US" dirty="0"/>
          </a:p>
        </p:txBody>
      </p:sp>
      <p:sp>
        <p:nvSpPr>
          <p:cNvPr id="5" name="Rectangle 4"/>
          <p:cNvSpPr/>
          <p:nvPr/>
        </p:nvSpPr>
        <p:spPr>
          <a:xfrm>
            <a:off x="506437" y="928467"/>
            <a:ext cx="10874326" cy="4170372"/>
          </a:xfrm>
          <a:prstGeom prst="rect">
            <a:avLst/>
          </a:prstGeom>
        </p:spPr>
        <p:txBody>
          <a:bodyPr wrap="square">
            <a:spAutoFit/>
          </a:bodyPr>
          <a:lstStyle/>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altLang="en-US" sz="3200" b="1" i="0" u="none" strike="noStrike" kern="0" cap="none" spc="0" normalizeH="0" baseline="0" noProof="0" dirty="0" smtClean="0">
                <a:ln>
                  <a:noFill/>
                </a:ln>
                <a:solidFill>
                  <a:srgbClr val="00B050"/>
                </a:solidFill>
                <a:effectLst/>
                <a:uLnTx/>
                <a:uFillTx/>
                <a:latin typeface="Girl Scout Text Medium" panose="02020003000000000000" pitchFamily="18" charset="0"/>
              </a:rPr>
              <a:t>Girls go door to door, or connect personally with customers to take orders on the girl order card.</a:t>
            </a: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altLang="en-US" sz="3200" b="1" i="0" u="none" strike="noStrike" kern="0" cap="none" spc="0" normalizeH="0" baseline="0" noProof="0" dirty="0" smtClean="0">
                <a:ln>
                  <a:noFill/>
                </a:ln>
                <a:solidFill>
                  <a:srgbClr val="00B050"/>
                </a:solidFill>
                <a:effectLst/>
                <a:uLnTx/>
                <a:uFillTx/>
                <a:latin typeface="Girl Scout Text Medium" panose="02020003000000000000" pitchFamily="18" charset="0"/>
              </a:rPr>
              <a:t>Digital Cookie open for customers.</a:t>
            </a:r>
          </a:p>
          <a:p>
            <a:pPr marL="228600" marR="0" lvl="0" indent="-228600" defTabSz="91440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altLang="en-US" sz="3200" b="1" i="0" u="none" strike="noStrike" kern="0" cap="none" spc="0" normalizeH="0" baseline="0" noProof="0" dirty="0" smtClean="0">
                <a:ln>
                  <a:noFill/>
                </a:ln>
                <a:solidFill>
                  <a:srgbClr val="00B050"/>
                </a:solidFill>
                <a:effectLst/>
                <a:uLnTx/>
                <a:uFillTx/>
                <a:latin typeface="Girl Scout Text Medium" panose="02020003000000000000" pitchFamily="18" charset="0"/>
              </a:rPr>
              <a:t>Special rewards for girls and troops </a:t>
            </a:r>
          </a:p>
          <a:p>
            <a:pPr marL="0" marR="0" lvl="0" indent="0" defTabSz="914400" eaLnBrk="1" fontAlgn="auto" latinLnBrk="0" hangingPunct="1">
              <a:lnSpc>
                <a:spcPct val="150000"/>
              </a:lnSpc>
              <a:spcBef>
                <a:spcPts val="1000"/>
              </a:spcBef>
              <a:spcAft>
                <a:spcPts val="0"/>
              </a:spcAft>
              <a:buClrTx/>
              <a:buSzTx/>
              <a:buFontTx/>
              <a:buNone/>
              <a:tabLst/>
              <a:defRPr/>
            </a:pPr>
            <a:r>
              <a:rPr kumimoji="0" lang="en-US" altLang="en-US" sz="3200" b="1" i="0" u="none" strike="noStrike" kern="0" cap="none" spc="0" normalizeH="0" baseline="0" noProof="0" dirty="0" smtClean="0">
                <a:ln>
                  <a:noFill/>
                </a:ln>
                <a:solidFill>
                  <a:srgbClr val="00B050"/>
                </a:solidFill>
                <a:effectLst/>
                <a:uLnTx/>
                <a:uFillTx/>
                <a:latin typeface="Girl Scout Text Medium" panose="02020003000000000000" pitchFamily="18" charset="0"/>
              </a:rPr>
              <a:t>  for orders taken during this period.</a:t>
            </a:r>
            <a:endParaRPr kumimoji="0" lang="en-US" sz="1800" b="0" i="0" u="none" strike="noStrike" kern="0" cap="none" spc="0" normalizeH="0" baseline="0" noProof="0" dirty="0" smtClean="0">
              <a:ln>
                <a:noFill/>
              </a:ln>
              <a:solidFill>
                <a:sysClr val="windowText" lastClr="000000"/>
              </a:solidFill>
              <a:effectLst/>
              <a:uLnTx/>
              <a:uFillTx/>
            </a:endParaRPr>
          </a:p>
        </p:txBody>
      </p:sp>
      <p:pic>
        <p:nvPicPr>
          <p:cNvPr id="6" name="Picture 5" descr="A picture containing text, electronics, computer, display&#10;&#10;Description automatically generated">
            <a:extLst>
              <a:ext uri="{FF2B5EF4-FFF2-40B4-BE49-F238E27FC236}">
                <a16:creationId xmlns:a16="http://schemas.microsoft.com/office/drawing/2014/main" id="{CE07E37C-61FB-DA4B-BAF6-F4B946374974}"/>
              </a:ext>
            </a:extLst>
          </p:cNvPr>
          <p:cNvPicPr>
            <a:picLocks noChangeAspect="1"/>
          </p:cNvPicPr>
          <p:nvPr/>
        </p:nvPicPr>
        <p:blipFill>
          <a:blip r:embed="rId3"/>
          <a:stretch>
            <a:fillRect/>
          </a:stretch>
        </p:blipFill>
        <p:spPr>
          <a:xfrm>
            <a:off x="8229601" y="2017890"/>
            <a:ext cx="2852928" cy="30809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797261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5B5BAB-6D4B-4D85-8CD5-966541042DEE}"/>
              </a:ext>
            </a:extLst>
          </p:cNvPr>
          <p:cNvSpPr>
            <a:spLocks noGrp="1"/>
          </p:cNvSpPr>
          <p:nvPr>
            <p:ph type="title"/>
          </p:nvPr>
        </p:nvSpPr>
        <p:spPr>
          <a:xfrm>
            <a:off x="1316736" y="865787"/>
            <a:ext cx="9265539" cy="4620613"/>
          </a:xfrm>
        </p:spPr>
        <p:txBody>
          <a:bodyPr/>
          <a:lstStyle/>
          <a:p>
            <a:pPr lvl="0">
              <a:lnSpc>
                <a:spcPct val="200000"/>
              </a:lnSpc>
              <a:spcBef>
                <a:spcPts val="1000"/>
              </a:spcBef>
            </a:pPr>
            <a:r>
              <a:rPr lang="en-US" altLang="en-US" sz="2800" b="0" dirty="0">
                <a:solidFill>
                  <a:srgbClr val="00B050"/>
                </a:solidFill>
                <a:latin typeface="Girl Scout Text Medium" panose="02020003000000000000" pitchFamily="18" charset="0"/>
              </a:rPr>
              <a:t>Troops must place their order in </a:t>
            </a:r>
            <a:r>
              <a:rPr lang="en-US" altLang="en-US" sz="2800" b="0" dirty="0" smtClean="0">
                <a:solidFill>
                  <a:srgbClr val="00B050"/>
                </a:solidFill>
                <a:latin typeface="Girl Scout Text Medium" panose="02020003000000000000" pitchFamily="18" charset="0"/>
              </a:rPr>
              <a:t>eBudde, </a:t>
            </a:r>
            <a:r>
              <a:rPr lang="en-US" altLang="en-US" sz="2800" b="0" dirty="0">
                <a:solidFill>
                  <a:srgbClr val="00B050"/>
                </a:solidFill>
                <a:latin typeface="Girl Scout Text Medium" panose="02020003000000000000" pitchFamily="18" charset="0"/>
              </a:rPr>
              <a:t>entering girl order </a:t>
            </a:r>
            <a:r>
              <a:rPr lang="en-US" altLang="en-US" sz="2800" b="0" dirty="0" smtClean="0">
                <a:solidFill>
                  <a:srgbClr val="00B050"/>
                </a:solidFill>
                <a:latin typeface="Girl Scout Text Medium" panose="02020003000000000000" pitchFamily="18" charset="0"/>
              </a:rPr>
              <a:t>card orders by March </a:t>
            </a:r>
            <a:r>
              <a:rPr lang="en-US" altLang="en-US" sz="2800" b="0" dirty="0" smtClean="0">
                <a:solidFill>
                  <a:srgbClr val="00B050"/>
                </a:solidFill>
                <a:latin typeface="Girl Scout Text Medium" panose="02020003000000000000" pitchFamily="18" charset="0"/>
              </a:rPr>
              <a:t>28</a:t>
            </a:r>
            <a:r>
              <a:rPr lang="en-US" altLang="en-US" sz="2800" b="0" baseline="30000" dirty="0" smtClean="0">
                <a:solidFill>
                  <a:srgbClr val="00B050"/>
                </a:solidFill>
                <a:latin typeface="Girl Scout Text Medium" panose="02020003000000000000" pitchFamily="18" charset="0"/>
              </a:rPr>
              <a:t>th</a:t>
            </a:r>
            <a:r>
              <a:rPr lang="en-US" altLang="en-US" sz="2800" b="0" dirty="0" smtClean="0">
                <a:solidFill>
                  <a:srgbClr val="00B050"/>
                </a:solidFill>
                <a:latin typeface="Girl Scout Text Medium" panose="02020003000000000000" pitchFamily="18" charset="0"/>
              </a:rPr>
              <a:t> </a:t>
            </a:r>
            <a:r>
              <a:rPr lang="en-US" altLang="en-US" sz="2800" b="0" dirty="0" smtClean="0">
                <a:solidFill>
                  <a:srgbClr val="00B050"/>
                </a:solidFill>
                <a:latin typeface="Girl Scout Text Medium" panose="02020003000000000000" pitchFamily="18" charset="0"/>
              </a:rPr>
              <a:t>by 12 noon.</a:t>
            </a:r>
            <a:r>
              <a:rPr lang="en-US" altLang="en-US" sz="2800" b="0" dirty="0">
                <a:solidFill>
                  <a:srgbClr val="00B050"/>
                </a:solidFill>
                <a:latin typeface="Girl Scout Text Medium" panose="02020003000000000000" pitchFamily="18" charset="0"/>
              </a:rPr>
              <a:t/>
            </a:r>
            <a:br>
              <a:rPr lang="en-US" altLang="en-US" sz="2800" b="0" dirty="0">
                <a:solidFill>
                  <a:srgbClr val="00B050"/>
                </a:solidFill>
                <a:latin typeface="Girl Scout Text Medium" panose="02020003000000000000" pitchFamily="18" charset="0"/>
              </a:rPr>
            </a:br>
            <a:r>
              <a:rPr lang="en-US" altLang="en-US" sz="2800" b="0" dirty="0" smtClean="0">
                <a:solidFill>
                  <a:srgbClr val="00B050"/>
                </a:solidFill>
                <a:latin typeface="Girl Scout Text Medium" panose="02020003000000000000" pitchFamily="18" charset="0"/>
              </a:rPr>
              <a:t>All </a:t>
            </a:r>
            <a:r>
              <a:rPr lang="en-US" altLang="en-US" sz="2800" b="0" dirty="0">
                <a:solidFill>
                  <a:srgbClr val="00B050"/>
                </a:solidFill>
                <a:latin typeface="Girl Scout Text Medium" panose="02020003000000000000" pitchFamily="18" charset="0"/>
              </a:rPr>
              <a:t>varieties are “cased up” into cases of 12 packages</a:t>
            </a:r>
            <a:br>
              <a:rPr lang="en-US" altLang="en-US" sz="2800" b="0" dirty="0">
                <a:solidFill>
                  <a:srgbClr val="00B050"/>
                </a:solidFill>
                <a:latin typeface="Girl Scout Text Medium" panose="02020003000000000000" pitchFamily="18" charset="0"/>
              </a:rPr>
            </a:br>
            <a:r>
              <a:rPr lang="en-US" altLang="en-US" sz="2800" b="0" dirty="0">
                <a:solidFill>
                  <a:srgbClr val="00B050"/>
                </a:solidFill>
                <a:latin typeface="Girl Scout Text Medium" panose="02020003000000000000" pitchFamily="18" charset="0"/>
              </a:rPr>
              <a:t>Webinar for Troops: Initial Order, Step by Step March </a:t>
            </a:r>
            <a:r>
              <a:rPr lang="en-US" altLang="en-US" sz="2800" b="0" dirty="0" smtClean="0">
                <a:solidFill>
                  <a:srgbClr val="00B050"/>
                </a:solidFill>
                <a:latin typeface="Girl Scout Text Medium" panose="02020003000000000000" pitchFamily="18" charset="0"/>
              </a:rPr>
              <a:t>22, </a:t>
            </a:r>
            <a:r>
              <a:rPr lang="en-US" altLang="en-US" sz="2800" b="0" dirty="0">
                <a:solidFill>
                  <a:srgbClr val="00B050"/>
                </a:solidFill>
                <a:latin typeface="Girl Scout Text Medium" panose="02020003000000000000" pitchFamily="18" charset="0"/>
              </a:rPr>
              <a:t>7PM</a:t>
            </a:r>
            <a:br>
              <a:rPr lang="en-US" altLang="en-US" sz="2800" b="0" dirty="0">
                <a:solidFill>
                  <a:srgbClr val="00B050"/>
                </a:solidFill>
                <a:latin typeface="Girl Scout Text Medium" panose="02020003000000000000" pitchFamily="18" charset="0"/>
              </a:rPr>
            </a:br>
            <a:endParaRPr lang="en-US" sz="4800" dirty="0"/>
          </a:p>
        </p:txBody>
      </p:sp>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r>
              <a:rPr lang="en-US"/>
              <a:t>CONFIDENTIAL &amp; PROPRIETARY</a:t>
            </a:r>
            <a:endParaRPr lang="en-US" dirty="0"/>
          </a:p>
        </p:txBody>
      </p:sp>
      <p:sp>
        <p:nvSpPr>
          <p:cNvPr id="4" name="Rectangle 3"/>
          <p:cNvSpPr/>
          <p:nvPr/>
        </p:nvSpPr>
        <p:spPr>
          <a:xfrm>
            <a:off x="2505456" y="219456"/>
            <a:ext cx="6638544"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3600" b="1" i="0" u="none" strike="noStrike" kern="0" cap="none" spc="0" normalizeH="0" baseline="0" noProof="0" dirty="0" smtClean="0">
                <a:ln>
                  <a:noFill/>
                </a:ln>
                <a:solidFill>
                  <a:srgbClr val="0070C0"/>
                </a:solidFill>
                <a:effectLst/>
                <a:uLnTx/>
                <a:uFillTx/>
                <a:latin typeface="Girl Scout Text Book" panose="02020003000000000000" pitchFamily="18" charset="0"/>
              </a:rPr>
              <a:t>Ordering Initial Order Cookies</a:t>
            </a:r>
            <a:endParaRPr kumimoji="0" lang="en-US"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27396124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5B5BAB-6D4B-4D85-8CD5-966541042DEE}"/>
              </a:ext>
            </a:extLst>
          </p:cNvPr>
          <p:cNvSpPr>
            <a:spLocks noGrp="1"/>
          </p:cNvSpPr>
          <p:nvPr>
            <p:ph type="title"/>
          </p:nvPr>
        </p:nvSpPr>
        <p:spPr>
          <a:xfrm>
            <a:off x="1152144" y="237745"/>
            <a:ext cx="9430131" cy="621792"/>
          </a:xfrm>
        </p:spPr>
        <p:txBody>
          <a:bodyPr/>
          <a:lstStyle/>
          <a:p>
            <a:pPr algn="ctr"/>
            <a:r>
              <a:rPr lang="en-US" sz="4800" dirty="0" smtClean="0"/>
              <a:t>Important Dates </a:t>
            </a:r>
            <a:endParaRPr lang="en-US" sz="4800" dirty="0"/>
          </a:p>
        </p:txBody>
      </p:sp>
      <p:sp>
        <p:nvSpPr>
          <p:cNvPr id="2" name="Date Placeholder 1">
            <a:extLst>
              <a:ext uri="{FF2B5EF4-FFF2-40B4-BE49-F238E27FC236}">
                <a16:creationId xmlns:a16="http://schemas.microsoft.com/office/drawing/2014/main" id="{B583558F-275B-467E-BE38-BAE3D07FED58}"/>
              </a:ext>
            </a:extLst>
          </p:cNvPr>
          <p:cNvSpPr>
            <a:spLocks noGrp="1"/>
          </p:cNvSpPr>
          <p:nvPr>
            <p:ph type="dt" sz="half" idx="4294967295"/>
          </p:nvPr>
        </p:nvSpPr>
        <p:spPr>
          <a:xfrm>
            <a:off x="0" y="6356350"/>
            <a:ext cx="2743200" cy="365125"/>
          </a:xfrm>
        </p:spPr>
        <p:txBody>
          <a:bodyPr/>
          <a:lstStyle/>
          <a:p>
            <a:r>
              <a:rPr lang="en-US"/>
              <a:t>CONFIDENTIAL &amp; PROPRIETARY</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0567549" flipH="1">
            <a:off x="7351776" y="2267713"/>
            <a:ext cx="3780762" cy="2240992"/>
          </a:xfrm>
          <a:prstGeom prst="rect">
            <a:avLst/>
          </a:prstGeom>
        </p:spPr>
      </p:pic>
      <p:sp>
        <p:nvSpPr>
          <p:cNvPr id="9" name="Rectangle 8"/>
          <p:cNvSpPr/>
          <p:nvPr/>
        </p:nvSpPr>
        <p:spPr>
          <a:xfrm>
            <a:off x="3048000" y="1859340"/>
            <a:ext cx="6096000" cy="3139321"/>
          </a:xfrm>
          <a:prstGeom prst="rect">
            <a:avLst/>
          </a:prstGeom>
        </p:spPr>
        <p:txBody>
          <a:bodyPr>
            <a:spAutoFit/>
          </a:bodyPr>
          <a:lstStyle/>
          <a:p>
            <a:r>
              <a:rPr lang="en-US" dirty="0">
                <a:solidFill>
                  <a:srgbClr val="00B050"/>
                </a:solidFill>
                <a:latin typeface="Girl Scout Text Medium" panose="02020003000000000000" pitchFamily="18" charset="0"/>
              </a:rPr>
              <a:t>eBudde access </a:t>
            </a:r>
            <a:r>
              <a:rPr lang="en-US" dirty="0" smtClean="0">
                <a:solidFill>
                  <a:srgbClr val="00B050"/>
                </a:solidFill>
                <a:latin typeface="Girl Scout Text Medium" panose="02020003000000000000" pitchFamily="18" charset="0"/>
              </a:rPr>
              <a:t>end of January</a:t>
            </a:r>
            <a:endParaRPr lang="en-US" dirty="0">
              <a:solidFill>
                <a:srgbClr val="00B050"/>
              </a:solidFill>
              <a:latin typeface="Girl Scout Text Medium" panose="02020003000000000000" pitchFamily="18" charset="0"/>
            </a:endParaRPr>
          </a:p>
          <a:p>
            <a:endParaRPr lang="en-US" dirty="0">
              <a:solidFill>
                <a:srgbClr val="00B050"/>
              </a:solidFill>
              <a:latin typeface="Girl Scout Text Medium" panose="02020003000000000000" pitchFamily="18" charset="0"/>
            </a:endParaRPr>
          </a:p>
          <a:p>
            <a:r>
              <a:rPr lang="en-US" dirty="0">
                <a:solidFill>
                  <a:srgbClr val="00B050"/>
                </a:solidFill>
                <a:latin typeface="Girl Scout Text Medium" panose="02020003000000000000" pitchFamily="18" charset="0"/>
              </a:rPr>
              <a:t>Digital Cookie access </a:t>
            </a:r>
            <a:r>
              <a:rPr lang="en-US" dirty="0" smtClean="0">
                <a:solidFill>
                  <a:srgbClr val="00B050"/>
                </a:solidFill>
                <a:latin typeface="Girl Scout Text Medium" panose="02020003000000000000" pitchFamily="18" charset="0"/>
              </a:rPr>
              <a:t>February 3 </a:t>
            </a:r>
            <a:r>
              <a:rPr lang="en-US" dirty="0">
                <a:solidFill>
                  <a:srgbClr val="00B050"/>
                </a:solidFill>
                <a:latin typeface="Girl Scout Text Medium" panose="02020003000000000000" pitchFamily="18" charset="0"/>
              </a:rPr>
              <a:t>for </a:t>
            </a:r>
            <a:r>
              <a:rPr lang="en-US" dirty="0" smtClean="0">
                <a:solidFill>
                  <a:srgbClr val="00B050"/>
                </a:solidFill>
                <a:latin typeface="Girl Scout Text Medium" panose="02020003000000000000" pitchFamily="18" charset="0"/>
              </a:rPr>
              <a:t>volunteers </a:t>
            </a:r>
            <a:endParaRPr lang="en-US" dirty="0">
              <a:solidFill>
                <a:srgbClr val="00B050"/>
              </a:solidFill>
              <a:latin typeface="Girl Scout Text Medium" panose="02020003000000000000" pitchFamily="18" charset="0"/>
            </a:endParaRPr>
          </a:p>
          <a:p>
            <a:endParaRPr lang="en-US" dirty="0">
              <a:solidFill>
                <a:srgbClr val="00B050"/>
              </a:solidFill>
              <a:latin typeface="Girl Scout Text Medium" panose="02020003000000000000" pitchFamily="18" charset="0"/>
            </a:endParaRPr>
          </a:p>
          <a:p>
            <a:r>
              <a:rPr lang="en-US" dirty="0">
                <a:solidFill>
                  <a:srgbClr val="00B050"/>
                </a:solidFill>
                <a:latin typeface="Girl Scout Text Medium" panose="02020003000000000000" pitchFamily="18" charset="0"/>
              </a:rPr>
              <a:t>Family DOC access, February </a:t>
            </a:r>
            <a:r>
              <a:rPr lang="en-US" dirty="0" smtClean="0">
                <a:solidFill>
                  <a:srgbClr val="00B050"/>
                </a:solidFill>
                <a:latin typeface="Girl Scout Text Medium" panose="02020003000000000000" pitchFamily="18" charset="0"/>
              </a:rPr>
              <a:t>9</a:t>
            </a:r>
            <a:endParaRPr lang="en-US" dirty="0">
              <a:solidFill>
                <a:srgbClr val="00B050"/>
              </a:solidFill>
              <a:latin typeface="Girl Scout Text Medium" panose="02020003000000000000" pitchFamily="18" charset="0"/>
            </a:endParaRPr>
          </a:p>
          <a:p>
            <a:endParaRPr lang="en-US" dirty="0">
              <a:solidFill>
                <a:srgbClr val="00B050"/>
              </a:solidFill>
              <a:latin typeface="Girl Scout Text Medium" panose="02020003000000000000" pitchFamily="18" charset="0"/>
            </a:endParaRPr>
          </a:p>
          <a:p>
            <a:r>
              <a:rPr lang="en-US" dirty="0">
                <a:solidFill>
                  <a:srgbClr val="00B050"/>
                </a:solidFill>
                <a:latin typeface="Girl Scout Text Medium" panose="02020003000000000000" pitchFamily="18" charset="0"/>
              </a:rPr>
              <a:t>Cookie sale begins February </a:t>
            </a:r>
            <a:r>
              <a:rPr lang="en-US" dirty="0" smtClean="0">
                <a:solidFill>
                  <a:srgbClr val="00B050"/>
                </a:solidFill>
                <a:latin typeface="Girl Scout Text Medium" panose="02020003000000000000" pitchFamily="18" charset="0"/>
              </a:rPr>
              <a:t>10</a:t>
            </a:r>
            <a:endParaRPr lang="en-US" dirty="0">
              <a:solidFill>
                <a:srgbClr val="00B050"/>
              </a:solidFill>
              <a:latin typeface="Girl Scout Text Medium" panose="02020003000000000000" pitchFamily="18" charset="0"/>
            </a:endParaRPr>
          </a:p>
          <a:p>
            <a:endParaRPr lang="en-US" dirty="0">
              <a:solidFill>
                <a:srgbClr val="00B050"/>
              </a:solidFill>
              <a:latin typeface="Girl Scout Text Medium" panose="02020003000000000000" pitchFamily="18" charset="0"/>
            </a:endParaRPr>
          </a:p>
          <a:p>
            <a:r>
              <a:rPr lang="en-US" dirty="0">
                <a:solidFill>
                  <a:srgbClr val="00B050"/>
                </a:solidFill>
                <a:latin typeface="Girl Scout Text Medium" panose="02020003000000000000" pitchFamily="18" charset="0"/>
              </a:rPr>
              <a:t>Initial Order Ends March </a:t>
            </a:r>
            <a:r>
              <a:rPr lang="en-US" dirty="0" smtClean="0">
                <a:solidFill>
                  <a:srgbClr val="00B050"/>
                </a:solidFill>
                <a:latin typeface="Girl Scout Text Medium" panose="02020003000000000000" pitchFamily="18" charset="0"/>
              </a:rPr>
              <a:t>26</a:t>
            </a:r>
            <a:endParaRPr lang="en-US" dirty="0">
              <a:solidFill>
                <a:srgbClr val="00B050"/>
              </a:solidFill>
              <a:latin typeface="Girl Scout Text Medium" panose="02020003000000000000" pitchFamily="18" charset="0"/>
            </a:endParaRPr>
          </a:p>
          <a:p>
            <a:endParaRPr lang="en-US" dirty="0">
              <a:solidFill>
                <a:srgbClr val="00B050"/>
              </a:solidFill>
              <a:latin typeface="Girl Scout Text Medium" panose="02020003000000000000" pitchFamily="18" charset="0"/>
            </a:endParaRPr>
          </a:p>
          <a:p>
            <a:r>
              <a:rPr lang="en-US" dirty="0">
                <a:solidFill>
                  <a:srgbClr val="00B050"/>
                </a:solidFill>
                <a:latin typeface="Girl Scout Text Medium" panose="02020003000000000000" pitchFamily="18" charset="0"/>
              </a:rPr>
              <a:t>Troops Submit I/O March </a:t>
            </a:r>
            <a:r>
              <a:rPr lang="en-US" dirty="0" smtClean="0">
                <a:solidFill>
                  <a:srgbClr val="00B050"/>
                </a:solidFill>
                <a:latin typeface="Girl Scout Text Medium" panose="02020003000000000000" pitchFamily="18" charset="0"/>
              </a:rPr>
              <a:t>28</a:t>
            </a:r>
            <a:endParaRPr lang="en-US" dirty="0">
              <a:solidFill>
                <a:srgbClr val="00B050"/>
              </a:solidFill>
              <a:latin typeface="Girl Scout Text Medium" panose="02020003000000000000" pitchFamily="18" charset="0"/>
            </a:endParaRPr>
          </a:p>
        </p:txBody>
      </p:sp>
    </p:spTree>
    <p:extLst>
      <p:ext uri="{BB962C8B-B14F-4D97-AF65-F5344CB8AC3E}">
        <p14:creationId xmlns:p14="http://schemas.microsoft.com/office/powerpoint/2010/main" val="14108103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4jQ4bIuQomIv_TA6yg9L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errero - LBB Theme">
  <a:themeElements>
    <a:clrScheme name="Custom 55">
      <a:dk1>
        <a:srgbClr val="0A0A0A"/>
      </a:dk1>
      <a:lt1>
        <a:sysClr val="window" lastClr="FFFFFF"/>
      </a:lt1>
      <a:dk2>
        <a:srgbClr val="0080C5"/>
      </a:dk2>
      <a:lt2>
        <a:srgbClr val="6E2D8D"/>
      </a:lt2>
      <a:accent1>
        <a:srgbClr val="039833"/>
      </a:accent1>
      <a:accent2>
        <a:srgbClr val="F4902F"/>
      </a:accent2>
      <a:accent3>
        <a:srgbClr val="EA100C"/>
      </a:accent3>
      <a:accent4>
        <a:srgbClr val="914A2C"/>
      </a:accent4>
      <a:accent5>
        <a:srgbClr val="C71F3F"/>
      </a:accent5>
      <a:accent6>
        <a:srgbClr val="7F7F7F"/>
      </a:accent6>
      <a:hlink>
        <a:srgbClr val="7B4F3A"/>
      </a:hlink>
      <a:folHlink>
        <a:srgbClr val="B2840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LBB 2">
      <a:dk1>
        <a:srgbClr val="000000"/>
      </a:dk1>
      <a:lt1>
        <a:srgbClr val="FFFFFF"/>
      </a:lt1>
      <a:dk2>
        <a:srgbClr val="0080C5"/>
      </a:dk2>
      <a:lt2>
        <a:srgbClr val="98563C"/>
      </a:lt2>
      <a:accent1>
        <a:srgbClr val="00B3B9"/>
      </a:accent1>
      <a:accent2>
        <a:srgbClr val="6E288C"/>
      </a:accent2>
      <a:accent3>
        <a:srgbClr val="EE2B25"/>
      </a:accent3>
      <a:accent4>
        <a:srgbClr val="F7971F"/>
      </a:accent4>
      <a:accent5>
        <a:srgbClr val="FDDD01"/>
      </a:accent5>
      <a:accent6>
        <a:srgbClr val="02A94E"/>
      </a:accent6>
      <a:hlink>
        <a:srgbClr val="00B3B8"/>
      </a:hlink>
      <a:folHlink>
        <a:srgbClr val="0081C5"/>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5</TotalTime>
  <Words>4390</Words>
  <Application>Microsoft Office PowerPoint</Application>
  <PresentationFormat>Widescreen</PresentationFormat>
  <Paragraphs>353</Paragraphs>
  <Slides>38</Slides>
  <Notes>2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2</vt:i4>
      </vt:variant>
      <vt:variant>
        <vt:lpstr>Slide Titles</vt:lpstr>
      </vt:variant>
      <vt:variant>
        <vt:i4>38</vt:i4>
      </vt:variant>
    </vt:vector>
  </HeadingPairs>
  <TitlesOfParts>
    <vt:vector size="57" baseType="lpstr">
      <vt:lpstr>Arial</vt:lpstr>
      <vt:lpstr>Arial Black</vt:lpstr>
      <vt:lpstr>Calibri</vt:lpstr>
      <vt:lpstr>Calibri Light</vt:lpstr>
      <vt:lpstr>Century Gothic</vt:lpstr>
      <vt:lpstr>Courier New</vt:lpstr>
      <vt:lpstr>Girl Scout Display Light</vt:lpstr>
      <vt:lpstr>Girl Scout Text Book</vt:lpstr>
      <vt:lpstr>Girl Scout Text Medium</vt:lpstr>
      <vt:lpstr>Open Sans</vt:lpstr>
      <vt:lpstr>Palatino Linotype</vt:lpstr>
      <vt:lpstr>Tahoma</vt:lpstr>
      <vt:lpstr>Trebuchet MS</vt:lpstr>
      <vt:lpstr>Wingdings</vt:lpstr>
      <vt:lpstr>Office Theme</vt:lpstr>
      <vt:lpstr>Ferrero - LBB Theme</vt:lpstr>
      <vt:lpstr>2_Office Theme</vt:lpstr>
      <vt:lpstr>think-cell Slide</vt:lpstr>
      <vt:lpstr>Acrobat Document</vt:lpstr>
      <vt:lpstr>PowerPoint Presentation</vt:lpstr>
      <vt:lpstr>PowerPoint Presentation</vt:lpstr>
      <vt:lpstr>PowerPoint Presentation</vt:lpstr>
      <vt:lpstr>Our 2023 COOKIE LINEUP</vt:lpstr>
      <vt:lpstr>Raspberry Rally™ </vt:lpstr>
      <vt:lpstr>Hooray for Cookies!  </vt:lpstr>
      <vt:lpstr>Initial Order 2/10-3/26</vt:lpstr>
      <vt:lpstr>Troops must place their order in eBudde, entering girl order card orders by March 28th by 12 noon. All varieties are “cased up” into cases of 12 packages Webinar for Troops: Initial Order, Step by Step March 22, 7PM </vt:lpstr>
      <vt:lpstr>Important Dates </vt:lpstr>
      <vt:lpstr>PowerPoint Presentation</vt:lpstr>
      <vt:lpstr>PowerPoint Presentation</vt:lpstr>
      <vt:lpstr>March Booths </vt:lpstr>
      <vt:lpstr>How do I get more cookies?</vt:lpstr>
      <vt:lpstr>April/May Booths 4/21-5/14 </vt:lpstr>
      <vt:lpstr>PowerPoint Presentation</vt:lpstr>
      <vt:lpstr>PowerPoint Presentation</vt:lpstr>
      <vt:lpstr>Digital Cookie (DOC)</vt:lpstr>
      <vt:lpstr>PowerPoint Presentation</vt:lpstr>
      <vt:lpstr>Troop Link </vt:lpstr>
      <vt:lpstr>PowerPoint Presentation</vt:lpstr>
      <vt:lpstr>PowerPoint Presentation</vt:lpstr>
      <vt:lpstr>Rewards 2023 </vt:lpstr>
      <vt:lpstr>Opt Out Rewards Option</vt:lpstr>
      <vt:lpstr>PowerPoint Presentation</vt:lpstr>
      <vt:lpstr>UNIQUE REWARDS for a bright new season </vt:lpstr>
      <vt:lpstr>PowerPoint Presentation</vt:lpstr>
      <vt:lpstr>PowerPoint Presentation</vt:lpstr>
      <vt:lpstr>ACH dates  May 11th - 1st ACH 1/3 amount owed  May 25th - 2nd ACH 1/3 amount owed  June 8th 3rd - ACH remaining balance</vt:lpstr>
      <vt:lpstr>PowerPoint Presentation</vt:lpstr>
      <vt:lpstr>eBudde </vt:lpstr>
      <vt:lpstr>Using eBudde  </vt:lpstr>
      <vt:lpstr>PowerPoint Presentation</vt:lpstr>
      <vt:lpstr>Supporting You:  Using Your Resources </vt:lpstr>
      <vt:lpstr>PowerPoint Presentation</vt:lpstr>
      <vt:lpstr>PowerPoint Presentation</vt:lpstr>
      <vt:lpstr>PowerPoint Presentation</vt:lpstr>
      <vt:lpstr>Delivery </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gina Shaver</dc:creator>
  <cp:lastModifiedBy>Regina Shaver</cp:lastModifiedBy>
  <cp:revision>42</cp:revision>
  <dcterms:created xsi:type="dcterms:W3CDTF">2023-01-24T14:56:09Z</dcterms:created>
  <dcterms:modified xsi:type="dcterms:W3CDTF">2023-01-27T11:50:25Z</dcterms:modified>
</cp:coreProperties>
</file>